
<file path=[Content_Types].xml><?xml version="1.0" encoding="utf-8"?>
<Types xmlns="http://schemas.openxmlformats.org/package/2006/content-types">
  <Default Extension="bin" ContentType="application/vnd.openxmlformats-officedocument.oleObject"/>
  <Default Extension="docx" ContentType="application/vnd.openxmlformats-officedocument.wordprocessingml.document"/>
  <Default Extension="emf" ContentType="image/x-emf"/>
  <Default Extension="fntdata" ContentType="application/x-fontdata"/>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comments/modernComment_7FFE5607_2F5E9C7D.xml" ContentType="application/vnd.ms-powerpoint.comment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48" r:id="rId1"/>
  </p:sldMasterIdLst>
  <p:notesMasterIdLst>
    <p:notesMasterId r:id="rId17"/>
  </p:notesMasterIdLst>
  <p:handoutMasterIdLst>
    <p:handoutMasterId r:id="rId18"/>
  </p:handoutMasterIdLst>
  <p:sldIdLst>
    <p:sldId id="2145705560" r:id="rId2"/>
    <p:sldId id="2147374594" r:id="rId3"/>
    <p:sldId id="2147374597" r:id="rId4"/>
    <p:sldId id="2147374598" r:id="rId5"/>
    <p:sldId id="2147374601" r:id="rId6"/>
    <p:sldId id="2147374602" r:id="rId7"/>
    <p:sldId id="2147374604" r:id="rId8"/>
    <p:sldId id="2147374605" r:id="rId9"/>
    <p:sldId id="2147374606" r:id="rId10"/>
    <p:sldId id="2147374608" r:id="rId11"/>
    <p:sldId id="2147374599" r:id="rId12"/>
    <p:sldId id="2147374607" r:id="rId13"/>
    <p:sldId id="2147374600" r:id="rId14"/>
    <p:sldId id="2147374609" r:id="rId15"/>
    <p:sldId id="2147374596" r:id="rId16"/>
  </p:sldIdLst>
  <p:sldSz cx="12192000" cy="6858000"/>
  <p:notesSz cx="7010400" cy="9296400"/>
  <p:embeddedFontLst>
    <p:embeddedFont>
      <p:font typeface="Calibri" panose="020F0502020204030204" pitchFamily="34" charset="0"/>
      <p:regular r:id="rId19"/>
      <p:bold r:id="rId20"/>
      <p:italic r:id="rId21"/>
      <p:boldItalic r:id="rId22"/>
    </p:embeddedFont>
    <p:embeddedFont>
      <p:font typeface="Consolas" panose="020B0609020204030204" pitchFamily="49" charset="0"/>
      <p:regular r:id="rId23"/>
      <p:bold r:id="rId24"/>
      <p:italic r:id="rId25"/>
      <p:boldItalic r:id="rId26"/>
    </p:embeddedFont>
    <p:embeddedFont>
      <p:font typeface="PTCRaleway" panose="020B0503030101060003" pitchFamily="34" charset="0"/>
      <p:regular r:id="rId27"/>
      <p:bold r:id="rId28"/>
      <p:italic r:id="rId29"/>
      <p:boldItalic r:id="rId30"/>
    </p:embeddedFont>
    <p:embeddedFont>
      <p:font typeface="PTCRaleway Black" panose="020B0A03030101060003" pitchFamily="34" charset="0"/>
      <p:bold r:id="rId31"/>
      <p:boldItalic r:id="rId32"/>
    </p:embeddedFont>
  </p:embeddedFontLst>
  <p:defaultTextStyle>
    <a:defPPr>
      <a:defRPr lang="en-US"/>
    </a:defPPr>
    <a:lvl1pPr marL="0" algn="l" defTabSz="1086775" rtl="0" eaLnBrk="1" latinLnBrk="0" hangingPunct="1">
      <a:defRPr sz="2200" kern="1200">
        <a:solidFill>
          <a:schemeClr val="tx1"/>
        </a:solidFill>
        <a:latin typeface="+mn-lt"/>
        <a:ea typeface="+mn-ea"/>
        <a:cs typeface="+mn-cs"/>
      </a:defRPr>
    </a:lvl1pPr>
    <a:lvl2pPr marL="543388" algn="l" defTabSz="1086775" rtl="0" eaLnBrk="1" latinLnBrk="0" hangingPunct="1">
      <a:defRPr sz="2200" kern="1200">
        <a:solidFill>
          <a:schemeClr val="tx1"/>
        </a:solidFill>
        <a:latin typeface="+mn-lt"/>
        <a:ea typeface="+mn-ea"/>
        <a:cs typeface="+mn-cs"/>
      </a:defRPr>
    </a:lvl2pPr>
    <a:lvl3pPr marL="1086775" algn="l" defTabSz="1086775" rtl="0" eaLnBrk="1" latinLnBrk="0" hangingPunct="1">
      <a:defRPr sz="2200" kern="1200">
        <a:solidFill>
          <a:schemeClr val="tx1"/>
        </a:solidFill>
        <a:latin typeface="+mn-lt"/>
        <a:ea typeface="+mn-ea"/>
        <a:cs typeface="+mn-cs"/>
      </a:defRPr>
    </a:lvl3pPr>
    <a:lvl4pPr marL="1630163" algn="l" defTabSz="1086775" rtl="0" eaLnBrk="1" latinLnBrk="0" hangingPunct="1">
      <a:defRPr sz="2200" kern="1200">
        <a:solidFill>
          <a:schemeClr val="tx1"/>
        </a:solidFill>
        <a:latin typeface="+mn-lt"/>
        <a:ea typeface="+mn-ea"/>
        <a:cs typeface="+mn-cs"/>
      </a:defRPr>
    </a:lvl4pPr>
    <a:lvl5pPr marL="2173551" algn="l" defTabSz="1086775" rtl="0" eaLnBrk="1" latinLnBrk="0" hangingPunct="1">
      <a:defRPr sz="2200" kern="1200">
        <a:solidFill>
          <a:schemeClr val="tx1"/>
        </a:solidFill>
        <a:latin typeface="+mn-lt"/>
        <a:ea typeface="+mn-ea"/>
        <a:cs typeface="+mn-cs"/>
      </a:defRPr>
    </a:lvl5pPr>
    <a:lvl6pPr marL="2716938" algn="l" defTabSz="1086775" rtl="0" eaLnBrk="1" latinLnBrk="0" hangingPunct="1">
      <a:defRPr sz="2200" kern="1200">
        <a:solidFill>
          <a:schemeClr val="tx1"/>
        </a:solidFill>
        <a:latin typeface="+mn-lt"/>
        <a:ea typeface="+mn-ea"/>
        <a:cs typeface="+mn-cs"/>
      </a:defRPr>
    </a:lvl6pPr>
    <a:lvl7pPr marL="3260326" algn="l" defTabSz="1086775" rtl="0" eaLnBrk="1" latinLnBrk="0" hangingPunct="1">
      <a:defRPr sz="2200" kern="1200">
        <a:solidFill>
          <a:schemeClr val="tx1"/>
        </a:solidFill>
        <a:latin typeface="+mn-lt"/>
        <a:ea typeface="+mn-ea"/>
        <a:cs typeface="+mn-cs"/>
      </a:defRPr>
    </a:lvl7pPr>
    <a:lvl8pPr marL="3803713" algn="l" defTabSz="1086775" rtl="0" eaLnBrk="1" latinLnBrk="0" hangingPunct="1">
      <a:defRPr sz="2200" kern="1200">
        <a:solidFill>
          <a:schemeClr val="tx1"/>
        </a:solidFill>
        <a:latin typeface="+mn-lt"/>
        <a:ea typeface="+mn-ea"/>
        <a:cs typeface="+mn-cs"/>
      </a:defRPr>
    </a:lvl8pPr>
    <a:lvl9pPr marL="4347102" algn="l" defTabSz="1086775" rtl="0" eaLnBrk="1" latinLnBrk="0" hangingPunct="1">
      <a:defRPr sz="2200" kern="1200">
        <a:solidFill>
          <a:schemeClr val="tx1"/>
        </a:solidFill>
        <a:latin typeface="+mn-lt"/>
        <a:ea typeface="+mn-ea"/>
        <a:cs typeface="+mn-cs"/>
      </a:defRPr>
    </a:lvl9pPr>
  </p:defaultTextStyle>
  <p:extLst>
    <p:ext uri="{EFAFB233-063F-42B5-8137-9DF3F51BA10A}">
      <p15:sldGuideLst xmlns:p15="http://schemas.microsoft.com/office/powerpoint/2012/main">
        <p15:guide id="18" orient="horz" pos="935" userDrawn="1">
          <p15:clr>
            <a:srgbClr val="A4A3A4"/>
          </p15:clr>
        </p15:guide>
        <p15:guide id="23" orient="horz" pos="600" userDrawn="1">
          <p15:clr>
            <a:srgbClr val="A4A3A4"/>
          </p15:clr>
        </p15:guide>
        <p15:guide id="26" pos="312" userDrawn="1">
          <p15:clr>
            <a:srgbClr val="A4A3A4"/>
          </p15:clr>
        </p15:guide>
        <p15:guide id="27" pos="7368" userDrawn="1">
          <p15:clr>
            <a:srgbClr val="A4A3A4"/>
          </p15:clr>
        </p15:guide>
        <p15:guide id="28" orient="horz" pos="4104" userDrawn="1">
          <p15:clr>
            <a:srgbClr val="A4A3A4"/>
          </p15:clr>
        </p15:guide>
        <p15:guide id="29" orient="horz" pos="1248"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25D478D-45A1-57E2-77D8-D012BF7BDC40}" name="Grey-Wilson, Steve" initials="GWS" userId="S::sgreywilson@ptc.com::fbf3d9df-72ec-494b-a4be-0be3f5e59657"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189"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A13C"/>
    <a:srgbClr val="C37729"/>
    <a:srgbClr val="197BC0"/>
    <a:srgbClr val="D12C3A"/>
    <a:srgbClr val="F0F2F6"/>
    <a:srgbClr val="6CC04A"/>
    <a:srgbClr val="40AA2B"/>
    <a:srgbClr val="3D4647"/>
    <a:srgbClr val="AA9103"/>
    <a:srgbClr val="12581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B807E3C-4C3D-45CC-94FA-8846CB1AF4BF}" v="73" dt="2024-01-09T14:29:47.90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818" autoAdjust="0"/>
    <p:restoredTop sz="94704" autoAdjust="0"/>
  </p:normalViewPr>
  <p:slideViewPr>
    <p:cSldViewPr snapToGrid="0" snapToObjects="1">
      <p:cViewPr varScale="1">
        <p:scale>
          <a:sx n="93" d="100"/>
          <a:sy n="93" d="100"/>
        </p:scale>
        <p:origin x="110" y="326"/>
      </p:cViewPr>
      <p:guideLst>
        <p:guide orient="horz" pos="935"/>
        <p:guide orient="horz" pos="600"/>
        <p:guide pos="312"/>
        <p:guide pos="7368"/>
        <p:guide orient="horz" pos="4104"/>
        <p:guide orient="horz" pos="1248"/>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p:scale>
          <a:sx n="120" d="100"/>
          <a:sy n="120" d="100"/>
        </p:scale>
        <p:origin x="1834" y="-1896"/>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handoutMaster" Target="handoutMasters/handoutMaster1.xml"/><Relationship Id="rId26" Type="http://schemas.openxmlformats.org/officeDocument/2006/relationships/font" Target="fonts/font8.fntdata"/><Relationship Id="rId39" Type="http://schemas.microsoft.com/office/2018/10/relationships/authors" Target="authors.xml"/><Relationship Id="rId21" Type="http://schemas.openxmlformats.org/officeDocument/2006/relationships/font" Target="fonts/font3.fntdata"/><Relationship Id="rId34"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5" Type="http://schemas.openxmlformats.org/officeDocument/2006/relationships/font" Target="fonts/font7.fntdata"/><Relationship Id="rId33" Type="http://schemas.openxmlformats.org/officeDocument/2006/relationships/commentAuthors" Target="commentAuthors.xml"/><Relationship Id="rId38" Type="http://schemas.microsoft.com/office/2015/10/relationships/revisionInfo" Target="revisionInfo.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font" Target="fonts/font2.fntdata"/><Relationship Id="rId29" Type="http://schemas.openxmlformats.org/officeDocument/2006/relationships/font" Target="fonts/font11.fntdata"/><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font" Target="fonts/font6.fntdata"/><Relationship Id="rId32" Type="http://schemas.openxmlformats.org/officeDocument/2006/relationships/font" Target="fonts/font14.fntdata"/><Relationship Id="rId37"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font" Target="fonts/font5.fntdata"/><Relationship Id="rId28" Type="http://schemas.openxmlformats.org/officeDocument/2006/relationships/font" Target="fonts/font10.fntdata"/><Relationship Id="rId36"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font" Target="fonts/font1.fntdata"/><Relationship Id="rId31" Type="http://schemas.openxmlformats.org/officeDocument/2006/relationships/font" Target="fonts/font13.fntdata"/><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font" Target="fonts/font4.fntdata"/><Relationship Id="rId27" Type="http://schemas.openxmlformats.org/officeDocument/2006/relationships/font" Target="fonts/font9.fntdata"/><Relationship Id="rId30" Type="http://schemas.openxmlformats.org/officeDocument/2006/relationships/font" Target="fonts/font12.fntdata"/><Relationship Id="rId35" Type="http://schemas.openxmlformats.org/officeDocument/2006/relationships/viewProps" Target="viewProps.xml"/><Relationship Id="rId8" Type="http://schemas.openxmlformats.org/officeDocument/2006/relationships/slide" Target="slides/slide7.xml"/><Relationship Id="rId3" Type="http://schemas.openxmlformats.org/officeDocument/2006/relationships/slide" Target="slides/slide2.xml"/></Relationships>
</file>

<file path=ppt/comments/modernComment_7FFE5607_2F5E9C7D.xml><?xml version="1.0" encoding="utf-8"?>
<p188:cmLst xmlns:a="http://schemas.openxmlformats.org/drawingml/2006/main" xmlns:r="http://schemas.openxmlformats.org/officeDocument/2006/relationships" xmlns:p188="http://schemas.microsoft.com/office/powerpoint/2018/8/main">
  <p188:cm id="{3602A468-D6C5-43EC-8F83-D94BE74C7898}" authorId="{525D478D-45A1-57E2-77D8-D012BF7BDC40}" created="2023-12-28T14:58:47.610">
    <pc:sldMkLst xmlns:pc="http://schemas.microsoft.com/office/powerpoint/2013/main/command">
      <pc:docMk/>
      <pc:sldMk cId="794729597" sldId="2147374599"/>
    </pc:sldMkLst>
    <p188:txBody>
      <a:bodyPr/>
      <a:lstStyle/>
      <a:p>
        <a:r>
          <a:rPr lang="en-US"/>
          <a:t>[
    {
        "Difficulty": "Difficulty: undefined",
        "Models": {
            "array": [
                {
                    "src": "/Crv/AffectedPart/rear_wiper_motor.pvz",
                    "model": "ap_rear_wiper_motor"
                },
                {
                    "src": "/Crv/AffectedPart/tailgate_wireharness.pvz",
                    "model": "tailgate_wireharness"
                },
                {
                    "src": "/Crv/AffectedPart/underDashFuseRelayBox.pvz",
                    "model": "ap_underDashFuseRelayBox"
                },
                {
                    "src": "/Crv/AffectedPart/gauge_control_unit.pvz",
                    "model": "ap_gauge_control_unit"
                }
            ]
        },
        "Overview": "Overview: undefined",
        "Time": "Time Est.: undefined",
        "Title": "Rear Window Wiper Motor. As Signal Error",
        "WorkID": "WIB1028",
        "WorkInstructions": [
            {
                "StepNumber": "0.0",
                "Label1": "Work Order: Rear Window Wiper Motor. As Signal Error",
                "Label3": "Time Est.: 1.0",
                "Label2": "Difficulty: Medium",
                "WorkID": "WIB1028",
                "StepDetail": "Overview: Rear Window Wiper Motor (As) Signal Error : If you are troubleshooting multiple DTCs, be sure to follow the instructions in B-CAN System Diagnosis Test Mode A"
            },
            {
                "AffectedPartsID": "3KK4EQN7VU",
                "StepNumber": "1.0",
                "Label1": "Safety",
                "Label3": "",
                "Models": {
                    "array": [
                        {
                            "path": "/134",
                            "model": "ap_rear_wiper_motor"
                        },
                        {
                            "path": "/68/85/@@PV-AUTO-ID@@010",
                            "model": "tailgate_wireharness"
                        },
                        {
                            "path": ":5/134",
                            "model": "ap_underDashFuseRelayBox"
                        },
                        {
                            "path": "/138",
                            "model": "ap_gauge_control_unit"
                        }
                    ]
                },
                "Label2": "",
                "PartsList": [
                    {
                        "ModelName": "ap_rear_wiper_motor",
                        "AffectedPartID": "3KK4EQN7VU",
                        "FileName": "/Crv/AffectedPart/rear_wiper_motor.pvz",
                        "MetadataID": "/134",
                        "source": "demo",
                        "MetadataPropertyName": "path",
                        "tags": [],
                        "PartName": "REAR_WIPER_MOTOR.PRT",
                        "sourceType": "User",
                        "DisplayName": "REAR_WIPER_MOTOR.PRT",
                        "location": {
                            "latitude": 0,
                            "longitude": 0,
                            "elevation": 0
                        },
                        "key": "3KK4EQN7VU/134",
                        "timestamp": "2023-12-20T21:19:02.159Z"
                    },
                    {
                        "ModelName": "tailgate_wireharness",
                        "AffectedPartID": "3KK4EQN7VU",
                        "FileName": "/Crv/AffectedPart/tailgate_wireharness.pvz",
                        "MetadataID": "/68/85/@@PV-AUTO-ID@@010",
                        "source": "demo",
                        "MetadataPropertyName": "path",
                        "tags": [],
                        "PartName": "BUNDLE_1",
                        "sourceType": "User",
                        "DisplayName": "BUNDLE_1",
                        "location": {
                            "latitude": 0,
                            "longitude": 0,
                            "elevation": 0
                        },
                        "key": "3KK4EQN7VU/68/85/@@PV-AUTO-ID@@010",
                        "timestamp": "2023-12-20T21:19:02.175Z"
                    },
                    {
                        "ModelName": "ap_underDashFuseRelayBox",
                        "AffectedPartID": "3KK4EQN7VU",
                        "FileName": "/Crv/AffectedPart/underDashFuseRelayBox.pvz",
                        "MetadataID": ":5/134",
                        "source": "demo",
                        "MetadataPropertyName": "path",
                        "tags": [],
                        "PartName": "UNDERDASHFUSERELAYBOX.PRT",
                        "sourceType": "User",
                        "DisplayName": "UNDERDASHFUSERELAYBOX.PRT",
                        "location": {
                            "latitude": 0,
                            "longitude": 0,
                            "elevation": 0
                        },
                        "key": "3KK4EQN7VU:5/134",
                        "timestamp": "2023-12-20T21:19:02.191Z"
                    },
                    {
                        "ModelName": "ap_gauge_control_unit",
                        "AffectedPartID": "3KK4EQN7VU",
                        "FileName": "/Crv/AffectedPart/gauge_control_unit.pvz",
                        "MetadataID": "/138",
                        "source": "demo",
                        "MetadataPropertyName": "path",
                        "tags": [],
                        "PartName": "GAUGE_CONTROL_UNIT.PRT",
                        "sourceType": "User",
                        "DisplayName": "GAUGE_CONTROL_UNIT.PRT",
                        "location": {
                            "latitude": 0,
                            "longitude": 0,
                            "elevation": 0
                        },
                        "key": "3KK4EQN7VU/138",
                        "timestamp": "2023-12-20T21:19:02.208Z"
                    }
                ],
                "WorkID": "WIB1028",
                "StepDetail": "Please make sure all safety options have been worked through."
            },
            {
                "AffectedPartsID": "EZYZ9FQ9OU",
                "StepNumber": "2.0",
                "Label1": "Clear registers",
                "Label3": "",
                "Models": {
                    "array": [
                        {
                            "path": "/138",
                            "model": "ap_gauge_control_unit"
                        }
                    ]
                },
                "Label2": "",
                "PartsList": [
                    {
                        "ModelName": "ap_gauge_control_unit",
                        "AffectedPartID": "EZYZ9FQ9OU",
                        "FileName": "/Crv/AffectedPart/gauge_control_unit.pvz",
                        "MetadataID": "/138",
                        "source": "demo",
                        "MetadataPropertyName": "path",
                        "tags": [],
                        "PartName": "GAUGE_CONTROL_UNIT.PRT",
                        "sourceType": "User",
                        "DisplayName": "GAUGE_CONTROL_UNIT.PRT",
                        "location": {
                            "latitude": 0,
                            "longitude": 0,
                            "elevation": 0
                        },
                        "key": "EZYZ9FQ9OU/138",
                        "timestamp": "2023-12-20T21:19:02.268Z"
                    }
                ],
                "WorkID": "WIB1028",
                "StepDetail": "Clear the DTCs with the HDS. Turn the ignition switch OFF, and then back ON (11). Operate the rear window wiper for 15 seconds or more, then turn the rear window wiper switch OFF. Does the rear window wiper stop in the normal park position?"
            },
            {
                "AffectedPartsID": "TNW1JVXRID",
                "StepNumber": "3.0",
                "Label1": "Is the rear window wiper motor OK?",
                "Label3": "",
                "Models": {
                    "array": [
                        {
                            "path": "/138",
                            "model": "ap_gauge_control_unit"
                        }
                    ]
                },
                "Label2": "",
                "PartsList": [
                    {
                        "ModelName": "ap_gauge_control_unit",
                        "AffectedPartID": "TNW1JVXRID",
                        "FileName": "/Crv/AffectedPart/gauge_control_unit.pvz",
                        "MetadataID": "/138",
                        "source": "demo",
                        "MetadataPropertyName": "path",
                        "tags": [],
                        "PartName": "GAUGE_CONTROL_UNIT.PRT",
                        "sourceType": "User",
                        "DisplayName": "GAUGE_CONTROL_UNIT.PRT",
                        "location": {
                            "latitude": 0,
                            "longitude": 0,
                            "elevation": 0
                        },
                        "key": "TNW1JVXRID/138",
                        "timestamp": "2023-12-20T21:19:02.300Z"
                    }
                ],
                "WorkID": "WIB1028",
                "StepDetail": "Do the rear window wiper motor test (see page 22-217)."
            },
            {
                "AffectedPartsID": "36ISBL2XZX",
                "StepNumber": "4.0",
                "Label1": "Baseline",
                "Label3": "",
                "Models": {
                    "array": [
                        {
                            "path": "/115",
                            "model": "ap_underDashFuseRelayBox"
                        }
                    ]
                },
                "Label2": "",
                "PartsList": [
                    {
                        "ModelName": "ap_underDashFuseRelayBox",
                        "AffectedPartID": "36ISBL2XZX",
                        "FileName": "/Crv/AffectedPart/underDashFuseRelayBox.pvz",
                        "MetadataID": "/115",
                        "source": "demo",
                        "MetadataPropertyName": "path",
                        "tags": [],
                        "PartName": "UNDERDASHFUSERELAYBOX.PRT",
                        "sourceType": "User",
                        "DisplayName": "UNDERDASHFUSERELAYBOX.PRT",
                        "location": {
                            "latitude": 0,
                            "longitude": 0,
                            "elevation": 0
                        },
                        "key": "36ISBL2XZX/115",
                        "timestamp": "2023-12-20T21:19:02.331Z"
                    }
                ],
                "WorkID": "WIB1028",
                "StepDetail": "Operate the rear window wiper for 15 seconds or more, then turn the rear window wiper switch OFF. Does the rear window wiper stop in the normal park position?"
            },
            {
                "AffectedPartsID": "OYFNVXK8SF",
                "StepNumber": "5.0",
                "Label1": "Baseline",
                "Label3": "",
                "Models": {
                    "array": [
                        {
                            "path": "/138",
                            "model": "ap_gauge_control_unit"
                        }
                    ]
                },
                "Label2": "",
                "PartsList": [
                    {
                        "ModelName": "ap_gauge_control_unit",
                        "AffectedPartID": "OYFNVXK8SF",
                        "FileName": "/Crv/AffectedPart/gauge_control_unit.pvz",
                        "MetadataID": "/138",
                        "source": "demo",
                        "MetadataPropertyName": "path",
                        "tags": [],
                        "PartName": "GAUGE_CONTROL_UNIT.PRT",
                        "sourceType": "User",
                        "DisplayName": "GAUGE_CONTROL_UNIT.PRT",
                        "location": {
                            "latitude": 0,
                            "longitude": 0,
                            "elevation": 0
                        },
                        "key": "OYFNVXK8SF/138",
                        "timestamp": "2023-12-20T21:19:02.363Z"
                    }
                ],
                "WorkID": "WIB1028",
                "StepDetail": "Turn the ignition switch OFF, and then back ON"
            }
        ],
        "_isSelected": true
    }
]</a:t>
        </a:r>
      </a:p>
    </p188:txBody>
  </p188:cm>
</p188: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2224B0B-B14D-40AC-82DF-F3306E84CD2D}"/>
              </a:ext>
            </a:extLst>
          </p:cNvPr>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vl1pPr>
          </a:lstStyle>
          <a:p>
            <a:endParaRPr lang="es-PE" dirty="0">
              <a:latin typeface="PTCRaleway" panose="020B0503030101060003" pitchFamily="34" charset="0"/>
            </a:endParaRPr>
          </a:p>
        </p:txBody>
      </p:sp>
      <p:sp>
        <p:nvSpPr>
          <p:cNvPr id="3" name="Date Placeholder 2">
            <a:extLst>
              <a:ext uri="{FF2B5EF4-FFF2-40B4-BE49-F238E27FC236}">
                <a16:creationId xmlns:a16="http://schemas.microsoft.com/office/drawing/2014/main" id="{5F87035F-7A70-47F4-BE9C-22A896CD40FA}"/>
              </a:ext>
            </a:extLst>
          </p:cNvPr>
          <p:cNvSpPr>
            <a:spLocks noGrp="1"/>
          </p:cNvSpPr>
          <p:nvPr>
            <p:ph type="dt" sz="quarter" idx="1"/>
          </p:nvPr>
        </p:nvSpPr>
        <p:spPr>
          <a:xfrm>
            <a:off x="3970338" y="0"/>
            <a:ext cx="3038475" cy="466725"/>
          </a:xfrm>
          <a:prstGeom prst="rect">
            <a:avLst/>
          </a:prstGeom>
        </p:spPr>
        <p:txBody>
          <a:bodyPr vert="horz" lIns="91440" tIns="45720" rIns="91440" bIns="45720" rtlCol="0"/>
          <a:lstStyle>
            <a:lvl1pPr algn="r">
              <a:defRPr sz="1200"/>
            </a:lvl1pPr>
          </a:lstStyle>
          <a:p>
            <a:fld id="{044D8EA7-7DA4-4945-AC0B-1C137F860C15}" type="datetimeFigureOut">
              <a:rPr lang="es-PE" smtClean="0">
                <a:latin typeface="PTCRaleway" panose="020B0503030101060003" pitchFamily="34" charset="0"/>
              </a:rPr>
              <a:t>9/01/2024</a:t>
            </a:fld>
            <a:endParaRPr lang="es-PE" dirty="0">
              <a:latin typeface="PTCRaleway" panose="020B0503030101060003" pitchFamily="34" charset="0"/>
            </a:endParaRPr>
          </a:p>
        </p:txBody>
      </p:sp>
      <p:sp>
        <p:nvSpPr>
          <p:cNvPr id="4" name="Footer Placeholder 3">
            <a:extLst>
              <a:ext uri="{FF2B5EF4-FFF2-40B4-BE49-F238E27FC236}">
                <a16:creationId xmlns:a16="http://schemas.microsoft.com/office/drawing/2014/main" id="{B411217F-1BC1-4AA5-8B2B-5ECC481CC313}"/>
              </a:ext>
            </a:extLst>
          </p:cNvPr>
          <p:cNvSpPr>
            <a:spLocks noGrp="1"/>
          </p:cNvSpPr>
          <p:nvPr>
            <p:ph type="ftr" sz="quarter" idx="2"/>
          </p:nvPr>
        </p:nvSpPr>
        <p:spPr>
          <a:xfrm>
            <a:off x="0" y="8829675"/>
            <a:ext cx="3038475" cy="466725"/>
          </a:xfrm>
          <a:prstGeom prst="rect">
            <a:avLst/>
          </a:prstGeom>
        </p:spPr>
        <p:txBody>
          <a:bodyPr vert="horz" lIns="91440" tIns="45720" rIns="91440" bIns="45720" rtlCol="0" anchor="b"/>
          <a:lstStyle>
            <a:lvl1pPr algn="l">
              <a:defRPr sz="1200"/>
            </a:lvl1pPr>
          </a:lstStyle>
          <a:p>
            <a:endParaRPr lang="es-PE" dirty="0">
              <a:latin typeface="PTCRaleway" panose="020B0503030101060003" pitchFamily="34" charset="0"/>
            </a:endParaRPr>
          </a:p>
        </p:txBody>
      </p:sp>
      <p:sp>
        <p:nvSpPr>
          <p:cNvPr id="5" name="Slide Number Placeholder 4">
            <a:extLst>
              <a:ext uri="{FF2B5EF4-FFF2-40B4-BE49-F238E27FC236}">
                <a16:creationId xmlns:a16="http://schemas.microsoft.com/office/drawing/2014/main" id="{FCF08F94-7F82-4A63-917E-74383B6A0A59}"/>
              </a:ext>
            </a:extLst>
          </p:cNvPr>
          <p:cNvSpPr>
            <a:spLocks noGrp="1"/>
          </p:cNvSpPr>
          <p:nvPr>
            <p:ph type="sldNum" sz="quarter" idx="3"/>
          </p:nvPr>
        </p:nvSpPr>
        <p:spPr>
          <a:xfrm>
            <a:off x="3970338" y="8829675"/>
            <a:ext cx="3038475" cy="466725"/>
          </a:xfrm>
          <a:prstGeom prst="rect">
            <a:avLst/>
          </a:prstGeom>
        </p:spPr>
        <p:txBody>
          <a:bodyPr vert="horz" lIns="91440" tIns="45720" rIns="91440" bIns="45720" rtlCol="0" anchor="b"/>
          <a:lstStyle>
            <a:lvl1pPr algn="r">
              <a:defRPr sz="1200"/>
            </a:lvl1pPr>
          </a:lstStyle>
          <a:p>
            <a:fld id="{B276B9F4-9710-4869-B60C-B0B61D2780E4}" type="slidenum">
              <a:rPr lang="es-PE" smtClean="0">
                <a:latin typeface="PTCRaleway" panose="020B0503030101060003" pitchFamily="34" charset="0"/>
              </a:rPr>
              <a:t>‹#›</a:t>
            </a:fld>
            <a:endParaRPr lang="es-PE" dirty="0">
              <a:latin typeface="PTCRaleway" panose="020B0503030101060003" pitchFamily="34" charset="0"/>
            </a:endParaRPr>
          </a:p>
        </p:txBody>
      </p:sp>
    </p:spTree>
    <p:extLst>
      <p:ext uri="{BB962C8B-B14F-4D97-AF65-F5344CB8AC3E}">
        <p14:creationId xmlns:p14="http://schemas.microsoft.com/office/powerpoint/2010/main" val="60246535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atin typeface="+mn-lt"/>
              </a:defRPr>
            </a:lvl1pPr>
          </a:lstStyle>
          <a:p>
            <a:endParaRPr lang="en-US" dirty="0"/>
          </a:p>
        </p:txBody>
      </p:sp>
      <p:sp>
        <p:nvSpPr>
          <p:cNvPr id="3" name="Date Placeholder 2"/>
          <p:cNvSpPr>
            <a:spLocks noGrp="1"/>
          </p:cNvSpPr>
          <p:nvPr>
            <p:ph type="dt" idx="1"/>
          </p:nvPr>
        </p:nvSpPr>
        <p:spPr>
          <a:xfrm>
            <a:off x="3970338" y="0"/>
            <a:ext cx="3038475" cy="466725"/>
          </a:xfrm>
          <a:prstGeom prst="rect">
            <a:avLst/>
          </a:prstGeom>
        </p:spPr>
        <p:txBody>
          <a:bodyPr vert="horz" lIns="91440" tIns="45720" rIns="91440" bIns="45720" rtlCol="0"/>
          <a:lstStyle>
            <a:lvl1pPr algn="r">
              <a:defRPr sz="1200">
                <a:latin typeface="+mn-lt"/>
              </a:defRPr>
            </a:lvl1pPr>
          </a:lstStyle>
          <a:p>
            <a:fld id="{AC5DD82D-684E-4FFB-8320-B8CCB1AF24EB}" type="datetimeFigureOut">
              <a:rPr lang="en-US" smtClean="0"/>
              <a:pPr/>
              <a:t>1/9/2024</a:t>
            </a:fld>
            <a:endParaRPr lang="en-US" dirty="0"/>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701675" y="4473575"/>
            <a:ext cx="5607050" cy="3660775"/>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829675"/>
            <a:ext cx="3038475" cy="466725"/>
          </a:xfrm>
          <a:prstGeom prst="rect">
            <a:avLst/>
          </a:prstGeom>
        </p:spPr>
        <p:txBody>
          <a:bodyPr vert="horz" lIns="91440" tIns="45720" rIns="91440" bIns="45720" rtlCol="0" anchor="b"/>
          <a:lstStyle>
            <a:lvl1pPr algn="l">
              <a:defRPr sz="1200">
                <a:latin typeface="+mn-lt"/>
              </a:defRPr>
            </a:lvl1pPr>
          </a:lstStyle>
          <a:p>
            <a:endParaRPr lang="en-US" dirty="0"/>
          </a:p>
        </p:txBody>
      </p:sp>
      <p:sp>
        <p:nvSpPr>
          <p:cNvPr id="7" name="Slide Number Placeholder 6"/>
          <p:cNvSpPr>
            <a:spLocks noGrp="1"/>
          </p:cNvSpPr>
          <p:nvPr>
            <p:ph type="sldNum" sz="quarter" idx="5"/>
          </p:nvPr>
        </p:nvSpPr>
        <p:spPr>
          <a:xfrm>
            <a:off x="3970338" y="8829675"/>
            <a:ext cx="3038475" cy="466725"/>
          </a:xfrm>
          <a:prstGeom prst="rect">
            <a:avLst/>
          </a:prstGeom>
        </p:spPr>
        <p:txBody>
          <a:bodyPr vert="horz" lIns="91440" tIns="45720" rIns="91440" bIns="45720" rtlCol="0" anchor="b"/>
          <a:lstStyle>
            <a:lvl1pPr algn="r">
              <a:defRPr sz="1200">
                <a:latin typeface="+mn-lt"/>
              </a:defRPr>
            </a:lvl1pPr>
          </a:lstStyle>
          <a:p>
            <a:fld id="{D1F37E36-7D7C-4671-B3B8-2BFBF9F6F7FB}" type="slidenum">
              <a:rPr lang="en-US" smtClean="0"/>
              <a:pPr/>
              <a:t>‹#›</a:t>
            </a:fld>
            <a:endParaRPr lang="en-US" dirty="0"/>
          </a:p>
        </p:txBody>
      </p:sp>
    </p:spTree>
    <p:extLst>
      <p:ext uri="{BB962C8B-B14F-4D97-AF65-F5344CB8AC3E}">
        <p14:creationId xmlns:p14="http://schemas.microsoft.com/office/powerpoint/2010/main" val="3701644338"/>
      </p:ext>
    </p:extLst>
  </p:cSld>
  <p:clrMap bg1="lt1" tx1="dk1" bg2="lt2" tx2="dk2" accent1="accent1" accent2="accent2" accent3="accent3" accent4="accent4" accent5="accent5" accent6="accent6" hlink="hlink" folHlink="folHlink"/>
  <p:notesStyle>
    <a:lvl1pPr marL="0" algn="l" defTabSz="914400" rtl="0" eaLnBrk="1" latinLnBrk="0" hangingPunct="1">
      <a:defRPr sz="1800" kern="1200">
        <a:solidFill>
          <a:schemeClr val="tx1"/>
        </a:solidFill>
        <a:latin typeface="+mn-lt"/>
        <a:ea typeface="+mn-ea"/>
        <a:cs typeface="+mn-cs"/>
      </a:defRPr>
    </a:lvl1pPr>
    <a:lvl2pPr marL="274320" algn="l" defTabSz="914400" rtl="0" eaLnBrk="1" latinLnBrk="0" hangingPunct="1">
      <a:defRPr sz="1800" kern="1200">
        <a:solidFill>
          <a:schemeClr val="tx1"/>
        </a:solidFill>
        <a:latin typeface="+mn-lt"/>
        <a:ea typeface="+mn-ea"/>
        <a:cs typeface="+mn-cs"/>
      </a:defRPr>
    </a:lvl2pPr>
    <a:lvl3pPr marL="548640" algn="l" defTabSz="914400" rtl="0" eaLnBrk="1" latinLnBrk="0" hangingPunct="1">
      <a:defRPr sz="1800" kern="1200">
        <a:solidFill>
          <a:schemeClr val="tx1"/>
        </a:solidFill>
        <a:latin typeface="+mn-lt"/>
        <a:ea typeface="+mn-ea"/>
        <a:cs typeface="+mn-cs"/>
      </a:defRPr>
    </a:lvl3pPr>
    <a:lvl4pPr marL="822960" algn="l" defTabSz="914400" rtl="0" eaLnBrk="1" latinLnBrk="0" hangingPunct="1">
      <a:defRPr sz="1800" kern="1200">
        <a:solidFill>
          <a:schemeClr val="tx1"/>
        </a:solidFill>
        <a:latin typeface="+mn-lt"/>
        <a:ea typeface="+mn-ea"/>
        <a:cs typeface="+mn-cs"/>
      </a:defRPr>
    </a:lvl4pPr>
    <a:lvl5pPr marL="109728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1F37E36-7D7C-4671-B3B8-2BFBF9F6F7FB}" type="slidenum">
              <a:rPr lang="en-US" smtClean="0"/>
              <a:pPr/>
              <a:t>1</a:t>
            </a:fld>
            <a:endParaRPr lang="en-US" dirty="0"/>
          </a:p>
        </p:txBody>
      </p:sp>
    </p:spTree>
    <p:extLst>
      <p:ext uri="{BB962C8B-B14F-4D97-AF65-F5344CB8AC3E}">
        <p14:creationId xmlns:p14="http://schemas.microsoft.com/office/powerpoint/2010/main" val="414098728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 Id="rId5" Type="http://schemas.openxmlformats.org/officeDocument/2006/relationships/image" Target="../media/image10.svg"/><Relationship Id="rId4" Type="http://schemas.openxmlformats.org/officeDocument/2006/relationships/image" Target="../media/image9.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pn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sv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6.svg"/><Relationship Id="rId7" Type="http://schemas.openxmlformats.org/officeDocument/2006/relationships/image" Target="../media/image4.png"/><Relationship Id="rId2" Type="http://schemas.openxmlformats.org/officeDocument/2006/relationships/image" Target="../media/image15.png"/><Relationship Id="rId1" Type="http://schemas.openxmlformats.org/officeDocument/2006/relationships/slideMaster" Target="../slideMasters/slideMaster1.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4.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19.png"/><Relationship Id="rId13" Type="http://schemas.openxmlformats.org/officeDocument/2006/relationships/image" Target="../media/image23.png"/><Relationship Id="rId3" Type="http://schemas.openxmlformats.org/officeDocument/2006/relationships/hyperlink" Target="https://facebook.com/ptc.inc" TargetMode="External"/><Relationship Id="rId7" Type="http://schemas.openxmlformats.org/officeDocument/2006/relationships/hyperlink" Target="https://www.linkedin.com/company/ptc/" TargetMode="External"/><Relationship Id="rId12" Type="http://schemas.openxmlformats.org/officeDocument/2006/relationships/image" Target="../media/image22.svg"/><Relationship Id="rId2" Type="http://schemas.openxmlformats.org/officeDocument/2006/relationships/hyperlink" Target="https://www.ptc.com/" TargetMode="External"/><Relationship Id="rId1" Type="http://schemas.openxmlformats.org/officeDocument/2006/relationships/slideMaster" Target="../slideMasters/slideMaster1.xml"/><Relationship Id="rId6" Type="http://schemas.openxmlformats.org/officeDocument/2006/relationships/image" Target="../media/image18.png"/><Relationship Id="rId11" Type="http://schemas.openxmlformats.org/officeDocument/2006/relationships/image" Target="../media/image21.png"/><Relationship Id="rId5" Type="http://schemas.openxmlformats.org/officeDocument/2006/relationships/hyperlink" Target="https://twitter.com/ptc" TargetMode="External"/><Relationship Id="rId10" Type="http://schemas.openxmlformats.org/officeDocument/2006/relationships/image" Target="../media/image20.png"/><Relationship Id="rId4" Type="http://schemas.openxmlformats.org/officeDocument/2006/relationships/image" Target="../media/image17.png"/><Relationship Id="rId9" Type="http://schemas.openxmlformats.org/officeDocument/2006/relationships/hyperlink" Target="https://youtube.com/ptc" TargetMode="Externa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1.jpg"/><Relationship Id="rId5" Type="http://schemas.openxmlformats.org/officeDocument/2006/relationships/image" Target="../media/image10.svg"/><Relationship Id="rId4" Type="http://schemas.openxmlformats.org/officeDocument/2006/relationships/image" Target="../media/image9.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cSld name="Cover">
    <p:bg>
      <p:bgRef idx="1001">
        <a:schemeClr val="bg1"/>
      </p:bgRef>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83093" y="5059333"/>
            <a:ext cx="4754880" cy="342017"/>
          </a:xfrm>
        </p:spPr>
        <p:txBody>
          <a:bodyPr vert="horz" wrap="square" lIns="0" tIns="9525" rIns="0" bIns="0" rtlCol="0">
            <a:spAutoFit/>
          </a:bodyPr>
          <a:lstStyle>
            <a:lvl1pPr marL="0" indent="0">
              <a:buNone/>
              <a:defRPr lang="en-US" sz="2400" b="1" kern="1200" spc="-4" dirty="0">
                <a:solidFill>
                  <a:schemeClr val="tx1"/>
                </a:solidFill>
                <a:latin typeface="+mj-lt"/>
                <a:ea typeface="+mn-ea"/>
                <a:cs typeface="PTCRaleway ExtraBold"/>
              </a:defRPr>
            </a:lvl1pPr>
          </a:lstStyle>
          <a:p>
            <a:pPr marL="9525" lvl="0">
              <a:spcBef>
                <a:spcPts val="75"/>
              </a:spcBef>
            </a:pPr>
            <a:r>
              <a:rPr lang="en-US"/>
              <a:t>Presenter’s Name</a:t>
            </a:r>
          </a:p>
        </p:txBody>
      </p:sp>
      <p:sp>
        <p:nvSpPr>
          <p:cNvPr id="8" name="Text Placeholder 7"/>
          <p:cNvSpPr>
            <a:spLocks noGrp="1"/>
          </p:cNvSpPr>
          <p:nvPr>
            <p:ph type="body" sz="quarter" idx="10" hasCustomPrompt="1"/>
          </p:nvPr>
        </p:nvSpPr>
        <p:spPr bwMode="gray">
          <a:xfrm>
            <a:off x="503103" y="5396933"/>
            <a:ext cx="4572000" cy="221599"/>
          </a:xfrm>
        </p:spPr>
        <p:txBody>
          <a:bodyPr>
            <a:noAutofit/>
          </a:bodyPr>
          <a:lstStyle>
            <a:lvl1pPr marL="0" indent="0" algn="l">
              <a:spcBef>
                <a:spcPts val="0"/>
              </a:spcBef>
              <a:buNone/>
              <a:defRPr lang="en-US" sz="1700" i="1" kern="1200" spc="8" dirty="0">
                <a:solidFill>
                  <a:schemeClr val="tx1"/>
                </a:solidFill>
                <a:latin typeface="+mj-lt"/>
                <a:ea typeface="+mn-ea"/>
                <a:cs typeface="PTCRaleway"/>
              </a:defRPr>
            </a:lvl1pPr>
            <a:lvl2pPr marL="455613"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Presenter’s Title</a:t>
            </a:r>
          </a:p>
        </p:txBody>
      </p:sp>
      <p:sp>
        <p:nvSpPr>
          <p:cNvPr id="10" name="Text Placeholder 9"/>
          <p:cNvSpPr>
            <a:spLocks noGrp="1"/>
          </p:cNvSpPr>
          <p:nvPr>
            <p:ph type="body" sz="quarter" idx="12" hasCustomPrompt="1"/>
          </p:nvPr>
        </p:nvSpPr>
        <p:spPr bwMode="gray">
          <a:xfrm>
            <a:off x="529443" y="6399289"/>
            <a:ext cx="3749040" cy="196592"/>
          </a:xfrm>
        </p:spPr>
        <p:txBody>
          <a:bodyPr vert="horz" wrap="square" lIns="0" tIns="9525" rIns="0" bIns="0" rtlCol="0" anchor="ctr" anchorCtr="0">
            <a:spAutoFit/>
          </a:bodyPr>
          <a:lstStyle>
            <a:lvl1pPr marL="0" indent="0">
              <a:buFontTx/>
              <a:buNone/>
              <a:defRPr lang="en-US" sz="1350" spc="8" dirty="0">
                <a:solidFill>
                  <a:schemeClr val="tx2">
                    <a:lumMod val="50000"/>
                  </a:schemeClr>
                </a:solidFill>
                <a:latin typeface="+mj-lt"/>
                <a:cs typeface="PTCRaleway"/>
              </a:defRPr>
            </a:lvl1pPr>
          </a:lstStyle>
          <a:p>
            <a:pPr marL="9525" lvl="0">
              <a:spcBef>
                <a:spcPts val="75"/>
              </a:spcBef>
            </a:pPr>
            <a:r>
              <a:rPr lang="en-US" dirty="0"/>
              <a:t>Add Date</a:t>
            </a:r>
          </a:p>
        </p:txBody>
      </p:sp>
      <p:sp>
        <p:nvSpPr>
          <p:cNvPr id="2" name="Title 1"/>
          <p:cNvSpPr>
            <a:spLocks noGrp="1"/>
          </p:cNvSpPr>
          <p:nvPr>
            <p:ph type="ctrTitle" hasCustomPrompt="1"/>
          </p:nvPr>
        </p:nvSpPr>
        <p:spPr bwMode="ltGray">
          <a:xfrm>
            <a:off x="473422" y="2708808"/>
            <a:ext cx="4409826" cy="1065933"/>
          </a:xfrm>
        </p:spPr>
        <p:txBody>
          <a:bodyPr vert="horz" wrap="square" lIns="0" tIns="9525" rIns="0" bIns="0" rtlCol="0" anchor="ctr" anchorCtr="0">
            <a:spAutoFit/>
          </a:bodyPr>
          <a:lstStyle>
            <a:lvl1pPr>
              <a:defRPr lang="en-US" sz="4200" b="1" dirty="0">
                <a:solidFill>
                  <a:schemeClr val="tx1"/>
                </a:solidFill>
              </a:defRPr>
            </a:lvl1pPr>
          </a:lstStyle>
          <a:p>
            <a:pPr marL="9525">
              <a:lnSpc>
                <a:spcPct val="78000"/>
              </a:lnSpc>
              <a:spcBef>
                <a:spcPts val="75"/>
              </a:spcBef>
              <a:tabLst>
                <a:tab pos="2245519" algn="l"/>
              </a:tabLst>
            </a:pPr>
            <a:r>
              <a:rPr lang="en-US" sz="4400" b="1" dirty="0"/>
              <a:t>PRESENTATION TITLE</a:t>
            </a:r>
          </a:p>
        </p:txBody>
      </p:sp>
      <p:pic>
        <p:nvPicPr>
          <p:cNvPr id="12" name="Graphic 11">
            <a:extLst>
              <a:ext uri="{FF2B5EF4-FFF2-40B4-BE49-F238E27FC236}">
                <a16:creationId xmlns:a16="http://schemas.microsoft.com/office/drawing/2014/main" id="{686A903A-4982-424F-B3B0-9B8CF40D994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040" y="6017774"/>
            <a:ext cx="2892560" cy="215304"/>
          </a:xfrm>
          <a:prstGeom prst="rect">
            <a:avLst/>
          </a:prstGeom>
        </p:spPr>
      </p:pic>
      <p:pic>
        <p:nvPicPr>
          <p:cNvPr id="13" name="Graphic 12">
            <a:extLst>
              <a:ext uri="{FF2B5EF4-FFF2-40B4-BE49-F238E27FC236}">
                <a16:creationId xmlns:a16="http://schemas.microsoft.com/office/drawing/2014/main" id="{27800727-BEFA-4199-BF3F-02A14E0B6D10}"/>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9184" y="116399"/>
            <a:ext cx="3968766" cy="1609344"/>
          </a:xfrm>
          <a:prstGeom prst="rect">
            <a:avLst/>
          </a:prstGeom>
        </p:spPr>
      </p:pic>
      <p:grpSp>
        <p:nvGrpSpPr>
          <p:cNvPr id="14" name="Group 13">
            <a:extLst>
              <a:ext uri="{FF2B5EF4-FFF2-40B4-BE49-F238E27FC236}">
                <a16:creationId xmlns:a16="http://schemas.microsoft.com/office/drawing/2014/main" id="{44D04B69-3461-456B-9C67-C24F2C048941}"/>
              </a:ext>
            </a:extLst>
          </p:cNvPr>
          <p:cNvGrpSpPr/>
          <p:nvPr userDrawn="1"/>
        </p:nvGrpSpPr>
        <p:grpSpPr>
          <a:xfrm>
            <a:off x="5098163" y="-455836"/>
            <a:ext cx="8421905" cy="7945936"/>
            <a:chOff x="5098163" y="-455836"/>
            <a:chExt cx="8421905" cy="7945936"/>
          </a:xfrm>
        </p:grpSpPr>
        <p:sp>
          <p:nvSpPr>
            <p:cNvPr id="18" name="Freeform: Shape 17">
              <a:extLst>
                <a:ext uri="{FF2B5EF4-FFF2-40B4-BE49-F238E27FC236}">
                  <a16:creationId xmlns:a16="http://schemas.microsoft.com/office/drawing/2014/main" id="{FC129301-6BBC-4CFE-9A5C-0F22F93AF184}"/>
                </a:ext>
              </a:extLst>
            </p:cNvPr>
            <p:cNvSpPr/>
            <p:nvPr userDrawn="1"/>
          </p:nvSpPr>
          <p:spPr>
            <a:xfrm rot="13821780">
              <a:off x="5239135" y="-596808"/>
              <a:ext cx="5190684" cy="5472628"/>
            </a:xfrm>
            <a:custGeom>
              <a:avLst/>
              <a:gdLst>
                <a:gd name="connsiteX0" fmla="*/ 5190684 w 5190684"/>
                <a:gd name="connsiteY0" fmla="*/ 2965814 h 5472628"/>
                <a:gd name="connsiteX1" fmla="*/ 3114139 w 5190684"/>
                <a:gd name="connsiteY1" fmla="*/ 5472628 h 5472628"/>
                <a:gd name="connsiteX2" fmla="*/ 0 w 5190684"/>
                <a:gd name="connsiteY2" fmla="*/ 0 h 5472628"/>
                <a:gd name="connsiteX3" fmla="*/ 3133747 w 5190684"/>
                <a:gd name="connsiteY3" fmla="*/ 0 h 5472628"/>
                <a:gd name="connsiteX4" fmla="*/ 3518511 w 5190684"/>
                <a:gd name="connsiteY4" fmla="*/ 169 h 5472628"/>
                <a:gd name="connsiteX5" fmla="*/ 5190684 w 5190684"/>
                <a:gd name="connsiteY5" fmla="*/ 2965814 h 5472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90684" h="5472628">
                  <a:moveTo>
                    <a:pt x="5190684" y="2965814"/>
                  </a:moveTo>
                  <a:lnTo>
                    <a:pt x="3114139" y="5472628"/>
                  </a:lnTo>
                  <a:lnTo>
                    <a:pt x="0" y="0"/>
                  </a:lnTo>
                  <a:lnTo>
                    <a:pt x="3133747" y="0"/>
                  </a:lnTo>
                  <a:lnTo>
                    <a:pt x="3518511" y="169"/>
                  </a:lnTo>
                  <a:lnTo>
                    <a:pt x="5190684" y="2965814"/>
                  </a:lnTo>
                  <a:close/>
                </a:path>
              </a:pathLst>
            </a:custGeom>
            <a:solidFill>
              <a:schemeClr val="tx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19" name="Freeform: Shape 18">
              <a:extLst>
                <a:ext uri="{FF2B5EF4-FFF2-40B4-BE49-F238E27FC236}">
                  <a16:creationId xmlns:a16="http://schemas.microsoft.com/office/drawing/2014/main" id="{C0246A04-13C7-4E8A-8E30-D7498D20B5FA}"/>
                </a:ext>
              </a:extLst>
            </p:cNvPr>
            <p:cNvSpPr/>
            <p:nvPr userDrawn="1"/>
          </p:nvSpPr>
          <p:spPr>
            <a:xfrm rot="13821780">
              <a:off x="8007792" y="1977824"/>
              <a:ext cx="5029645" cy="5994907"/>
            </a:xfrm>
            <a:custGeom>
              <a:avLst/>
              <a:gdLst>
                <a:gd name="connsiteX0" fmla="*/ 3516449 w 5029645"/>
                <a:gd name="connsiteY0" fmla="*/ 5994907 h 5994907"/>
                <a:gd name="connsiteX1" fmla="*/ 1394416 w 5029645"/>
                <a:gd name="connsiteY1" fmla="*/ 4237097 h 5994907"/>
                <a:gd name="connsiteX2" fmla="*/ 1677138 w 5029645"/>
                <a:gd name="connsiteY2" fmla="*/ 3756672 h 5994907"/>
                <a:gd name="connsiteX3" fmla="*/ 1317698 w 5029645"/>
                <a:gd name="connsiteY3" fmla="*/ 3124534 h 5994907"/>
                <a:gd name="connsiteX4" fmla="*/ 920847 w 5029645"/>
                <a:gd name="connsiteY4" fmla="*/ 3844814 h 5994907"/>
                <a:gd name="connsiteX5" fmla="*/ 280815 w 5029645"/>
                <a:gd name="connsiteY5" fmla="*/ 3314638 h 5994907"/>
                <a:gd name="connsiteX6" fmla="*/ 280817 w 5029645"/>
                <a:gd name="connsiteY6" fmla="*/ 3314636 h 5994907"/>
                <a:gd name="connsiteX7" fmla="*/ 0 w 5029645"/>
                <a:gd name="connsiteY7" fmla="*/ 3082019 h 5994907"/>
                <a:gd name="connsiteX8" fmla="*/ 2553021 w 5029645"/>
                <a:gd name="connsiteY8" fmla="*/ 0 h 5994907"/>
                <a:gd name="connsiteX9" fmla="*/ 3082168 w 5029645"/>
                <a:gd name="connsiteY9" fmla="*/ 0 h 5994907"/>
                <a:gd name="connsiteX10" fmla="*/ 3870352 w 5029645"/>
                <a:gd name="connsiteY10" fmla="*/ 1377053 h 5994907"/>
                <a:gd name="connsiteX11" fmla="*/ 5029645 w 5029645"/>
                <a:gd name="connsiteY11" fmla="*/ 3437574 h 5994907"/>
                <a:gd name="connsiteX12" fmla="*/ 3516449 w 5029645"/>
                <a:gd name="connsiteY12" fmla="*/ 5994907 h 5994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29645" h="5994907">
                  <a:moveTo>
                    <a:pt x="3516449" y="5994907"/>
                  </a:moveTo>
                  <a:lnTo>
                    <a:pt x="1394416" y="4237097"/>
                  </a:lnTo>
                  <a:lnTo>
                    <a:pt x="1677138" y="3756672"/>
                  </a:lnTo>
                  <a:lnTo>
                    <a:pt x="1317698" y="3124534"/>
                  </a:lnTo>
                  <a:lnTo>
                    <a:pt x="920847" y="3844814"/>
                  </a:lnTo>
                  <a:lnTo>
                    <a:pt x="280815" y="3314638"/>
                  </a:lnTo>
                  <a:lnTo>
                    <a:pt x="280817" y="3314636"/>
                  </a:lnTo>
                  <a:lnTo>
                    <a:pt x="0" y="3082019"/>
                  </a:lnTo>
                  <a:lnTo>
                    <a:pt x="2553021" y="0"/>
                  </a:lnTo>
                  <a:lnTo>
                    <a:pt x="3082168" y="0"/>
                  </a:lnTo>
                  <a:lnTo>
                    <a:pt x="3870352" y="1377053"/>
                  </a:lnTo>
                  <a:lnTo>
                    <a:pt x="5029645" y="3437574"/>
                  </a:lnTo>
                  <a:lnTo>
                    <a:pt x="3516449" y="5994907"/>
                  </a:lnTo>
                  <a:close/>
                </a:path>
              </a:pathLst>
            </a:custGeom>
            <a:solidFill>
              <a:schemeClr val="bg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20" name="Freeform: Shape 19">
              <a:extLst>
                <a:ext uri="{FF2B5EF4-FFF2-40B4-BE49-F238E27FC236}">
                  <a16:creationId xmlns:a16="http://schemas.microsoft.com/office/drawing/2014/main" id="{97B8AF6A-3398-417E-818C-E716D2C905C4}"/>
                </a:ext>
              </a:extLst>
            </p:cNvPr>
            <p:cNvSpPr/>
            <p:nvPr userDrawn="1"/>
          </p:nvSpPr>
          <p:spPr>
            <a:xfrm>
              <a:off x="9497710" y="0"/>
              <a:ext cx="2694290" cy="2106092"/>
            </a:xfrm>
            <a:custGeom>
              <a:avLst/>
              <a:gdLst>
                <a:gd name="connsiteX0" fmla="*/ 802401 w 2694290"/>
                <a:gd name="connsiteY0" fmla="*/ 0 h 2106092"/>
                <a:gd name="connsiteX1" fmla="*/ 2694290 w 2694290"/>
                <a:gd name="connsiteY1" fmla="*/ 0 h 2106092"/>
                <a:gd name="connsiteX2" fmla="*/ 2694290 w 2694290"/>
                <a:gd name="connsiteY2" fmla="*/ 1678210 h 2106092"/>
                <a:gd name="connsiteX3" fmla="*/ 0 w 2694290"/>
                <a:gd name="connsiteY3" fmla="*/ 2106092 h 2106092"/>
                <a:gd name="connsiteX4" fmla="*/ 802401 w 2694290"/>
                <a:gd name="connsiteY4" fmla="*/ 0 h 21060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4290" h="2106092">
                  <a:moveTo>
                    <a:pt x="802401" y="0"/>
                  </a:moveTo>
                  <a:lnTo>
                    <a:pt x="2694290" y="0"/>
                  </a:lnTo>
                  <a:lnTo>
                    <a:pt x="2694290" y="1678210"/>
                  </a:lnTo>
                  <a:lnTo>
                    <a:pt x="0" y="2106092"/>
                  </a:lnTo>
                  <a:lnTo>
                    <a:pt x="802401" y="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dirty="0">
                <a:solidFill>
                  <a:schemeClr val="bg1"/>
                </a:solidFill>
              </a:endParaRPr>
            </a:p>
          </p:txBody>
        </p:sp>
      </p:grpSp>
    </p:spTree>
    <p:extLst>
      <p:ext uri="{BB962C8B-B14F-4D97-AF65-F5344CB8AC3E}">
        <p14:creationId xmlns:p14="http://schemas.microsoft.com/office/powerpoint/2010/main" val="15628135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A4D7EE-4EB9-47BD-B3ED-30248208721D}"/>
              </a:ext>
            </a:extLst>
          </p:cNvPr>
          <p:cNvSpPr>
            <a:spLocks noGrp="1"/>
          </p:cNvSpPr>
          <p:nvPr>
            <p:ph type="title" hasCustomPrompt="1"/>
          </p:nvPr>
        </p:nvSpPr>
        <p:spPr/>
        <p:txBody>
          <a:bodyPr/>
          <a:lstStyle>
            <a:lvl1pPr>
              <a:defRPr/>
            </a:lvl1pPr>
          </a:lstStyle>
          <a:p>
            <a:r>
              <a:rPr lang="en-US" dirty="0"/>
              <a:t>add title – keep it brief</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Title Only 2">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BFDC2C7D-9956-4404-BBE2-0008FE2DFC81}"/>
              </a:ext>
            </a:extLst>
          </p:cNvPr>
          <p:cNvGrpSpPr/>
          <p:nvPr userDrawn="1"/>
        </p:nvGrpSpPr>
        <p:grpSpPr>
          <a:xfrm>
            <a:off x="1524" y="6620256"/>
            <a:ext cx="12188952" cy="237744"/>
            <a:chOff x="0" y="6620256"/>
            <a:chExt cx="12188952" cy="237744"/>
          </a:xfrm>
        </p:grpSpPr>
        <p:sp>
          <p:nvSpPr>
            <p:cNvPr id="8" name="Freeform: Shape 7">
              <a:extLst>
                <a:ext uri="{FF2B5EF4-FFF2-40B4-BE49-F238E27FC236}">
                  <a16:creationId xmlns:a16="http://schemas.microsoft.com/office/drawing/2014/main" id="{8CC90A3D-3A78-4594-9E09-56B2118B5D02}"/>
                </a:ext>
              </a:extLst>
            </p:cNvPr>
            <p:cNvSpPr/>
            <p:nvPr userDrawn="1"/>
          </p:nvSpPr>
          <p:spPr>
            <a:xfrm>
              <a:off x="0" y="6624535"/>
              <a:ext cx="12188952" cy="233465"/>
            </a:xfrm>
            <a:custGeom>
              <a:avLst/>
              <a:gdLst>
                <a:gd name="connsiteX0" fmla="*/ 8949770 w 11969877"/>
                <a:gd name="connsiteY0" fmla="*/ 0 h 233465"/>
                <a:gd name="connsiteX1" fmla="*/ 11969877 w 11969877"/>
                <a:gd name="connsiteY1" fmla="*/ 0 h 233465"/>
                <a:gd name="connsiteX2" fmla="*/ 11969877 w 11969877"/>
                <a:gd name="connsiteY2" fmla="*/ 233465 h 233465"/>
                <a:gd name="connsiteX3" fmla="*/ 9027859 w 11969877"/>
                <a:gd name="connsiteY3" fmla="*/ 233465 h 233465"/>
                <a:gd name="connsiteX4" fmla="*/ 1048596 w 11969877"/>
                <a:gd name="connsiteY4" fmla="*/ 233465 h 233465"/>
                <a:gd name="connsiteX5" fmla="*/ 33436 w 11969877"/>
                <a:gd name="connsiteY5" fmla="*/ 233465 h 233465"/>
                <a:gd name="connsiteX6" fmla="*/ 0 w 11969877"/>
                <a:gd name="connsiteY6" fmla="*/ 233465 h 233465"/>
                <a:gd name="connsiteX7" fmla="*/ 0 w 11969877"/>
                <a:gd name="connsiteY7" fmla="*/ 169375 h 233465"/>
                <a:gd name="connsiteX8" fmla="*/ 0 w 11969877"/>
                <a:gd name="connsiteY8" fmla="*/ 126232 h 233465"/>
                <a:gd name="connsiteX9" fmla="*/ 0 w 11969877"/>
                <a:gd name="connsiteY9" fmla="*/ 109891 h 233465"/>
                <a:gd name="connsiteX10" fmla="*/ 8695556 w 11969877"/>
                <a:gd name="connsiteY10" fmla="*/ 109891 h 233465"/>
                <a:gd name="connsiteX11" fmla="*/ 8949770 w 11969877"/>
                <a:gd name="connsiteY11" fmla="*/ 0 h 233465"/>
                <a:gd name="connsiteX0" fmla="*/ 8949770 w 11969877"/>
                <a:gd name="connsiteY0" fmla="*/ 0 h 233465"/>
                <a:gd name="connsiteX1" fmla="*/ 11969877 w 11969877"/>
                <a:gd name="connsiteY1" fmla="*/ 0 h 233465"/>
                <a:gd name="connsiteX2" fmla="*/ 11969877 w 11969877"/>
                <a:gd name="connsiteY2" fmla="*/ 233465 h 233465"/>
                <a:gd name="connsiteX3" fmla="*/ 9027859 w 11969877"/>
                <a:gd name="connsiteY3" fmla="*/ 233465 h 233465"/>
                <a:gd name="connsiteX4" fmla="*/ 1048596 w 11969877"/>
                <a:gd name="connsiteY4" fmla="*/ 233465 h 233465"/>
                <a:gd name="connsiteX5" fmla="*/ 33436 w 11969877"/>
                <a:gd name="connsiteY5" fmla="*/ 233465 h 233465"/>
                <a:gd name="connsiteX6" fmla="*/ 0 w 11969877"/>
                <a:gd name="connsiteY6" fmla="*/ 233465 h 233465"/>
                <a:gd name="connsiteX7" fmla="*/ 0 w 11969877"/>
                <a:gd name="connsiteY7" fmla="*/ 169375 h 233465"/>
                <a:gd name="connsiteX8" fmla="*/ 0 w 11969877"/>
                <a:gd name="connsiteY8" fmla="*/ 126232 h 233465"/>
                <a:gd name="connsiteX9" fmla="*/ 0 w 11969877"/>
                <a:gd name="connsiteY9" fmla="*/ 109891 h 233465"/>
                <a:gd name="connsiteX10" fmla="*/ 8708028 w 11969877"/>
                <a:gd name="connsiteY10" fmla="*/ 141641 h 233465"/>
                <a:gd name="connsiteX11" fmla="*/ 8949770 w 11969877"/>
                <a:gd name="connsiteY11" fmla="*/ 0 h 233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969877" h="233465">
                  <a:moveTo>
                    <a:pt x="8949770" y="0"/>
                  </a:moveTo>
                  <a:lnTo>
                    <a:pt x="11969877" y="0"/>
                  </a:lnTo>
                  <a:lnTo>
                    <a:pt x="11969877" y="233465"/>
                  </a:lnTo>
                  <a:lnTo>
                    <a:pt x="9027859" y="233465"/>
                  </a:lnTo>
                  <a:lnTo>
                    <a:pt x="1048596" y="233465"/>
                  </a:lnTo>
                  <a:lnTo>
                    <a:pt x="33436" y="233465"/>
                  </a:lnTo>
                  <a:lnTo>
                    <a:pt x="0" y="233465"/>
                  </a:lnTo>
                  <a:lnTo>
                    <a:pt x="0" y="169375"/>
                  </a:lnTo>
                  <a:lnTo>
                    <a:pt x="0" y="126232"/>
                  </a:lnTo>
                  <a:lnTo>
                    <a:pt x="0" y="109891"/>
                  </a:lnTo>
                  <a:lnTo>
                    <a:pt x="8708028" y="141641"/>
                  </a:lnTo>
                  <a:lnTo>
                    <a:pt x="8949770"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sz="1800" dirty="0">
                <a:solidFill>
                  <a:schemeClr val="bg1"/>
                </a:solidFill>
              </a:endParaRPr>
            </a:p>
          </p:txBody>
        </p:sp>
        <p:sp>
          <p:nvSpPr>
            <p:cNvPr id="9" name="Freeform 4">
              <a:extLst>
                <a:ext uri="{FF2B5EF4-FFF2-40B4-BE49-F238E27FC236}">
                  <a16:creationId xmlns:a16="http://schemas.microsoft.com/office/drawing/2014/main" id="{52266BF2-EEA7-4B84-9601-A6305B468FEF}"/>
                </a:ext>
              </a:extLst>
            </p:cNvPr>
            <p:cNvSpPr>
              <a:spLocks noChangeAspect="1"/>
            </p:cNvSpPr>
            <p:nvPr userDrawn="1"/>
          </p:nvSpPr>
          <p:spPr>
            <a:xfrm>
              <a:off x="8585655" y="6620256"/>
              <a:ext cx="545655" cy="237744"/>
            </a:xfrm>
            <a:custGeom>
              <a:avLst/>
              <a:gdLst>
                <a:gd name="connsiteX0" fmla="*/ 57150 w 1790700"/>
                <a:gd name="connsiteY0" fmla="*/ 0 h 3086100"/>
                <a:gd name="connsiteX1" fmla="*/ 1790700 w 1790700"/>
                <a:gd name="connsiteY1" fmla="*/ 3086100 h 3086100"/>
                <a:gd name="connsiteX2" fmla="*/ 0 w 1790700"/>
                <a:gd name="connsiteY2" fmla="*/ 3067050 h 3086100"/>
                <a:gd name="connsiteX3" fmla="*/ 0 w 1790700"/>
                <a:gd name="connsiteY3" fmla="*/ 0 h 3086100"/>
                <a:gd name="connsiteX4" fmla="*/ 19050 w 1790700"/>
                <a:gd name="connsiteY4" fmla="*/ 38100 h 3086100"/>
                <a:gd name="connsiteX5" fmla="*/ 19050 w 1790700"/>
                <a:gd name="connsiteY5" fmla="*/ 57150 h 3086100"/>
                <a:gd name="connsiteX0" fmla="*/ 57150 w 1790700"/>
                <a:gd name="connsiteY0" fmla="*/ 0 h 3086100"/>
                <a:gd name="connsiteX1" fmla="*/ 1790700 w 1790700"/>
                <a:gd name="connsiteY1" fmla="*/ 3086100 h 3086100"/>
                <a:gd name="connsiteX2" fmla="*/ 0 w 1790700"/>
                <a:gd name="connsiteY2" fmla="*/ 3067050 h 3086100"/>
                <a:gd name="connsiteX3" fmla="*/ 0 w 1790700"/>
                <a:gd name="connsiteY3" fmla="*/ 0 h 3086100"/>
                <a:gd name="connsiteX4" fmla="*/ 19050 w 1790700"/>
                <a:gd name="connsiteY4" fmla="*/ 38100 h 3086100"/>
                <a:gd name="connsiteX0" fmla="*/ 57150 w 1790700"/>
                <a:gd name="connsiteY0" fmla="*/ 0 h 3086100"/>
                <a:gd name="connsiteX1" fmla="*/ 1790700 w 1790700"/>
                <a:gd name="connsiteY1" fmla="*/ 3086100 h 3086100"/>
                <a:gd name="connsiteX2" fmla="*/ 0 w 1790700"/>
                <a:gd name="connsiteY2" fmla="*/ 3067050 h 3086100"/>
                <a:gd name="connsiteX3" fmla="*/ 0 w 1790700"/>
                <a:gd name="connsiteY3" fmla="*/ 0 h 3086100"/>
                <a:gd name="connsiteX0" fmla="*/ 57150 w 1790700"/>
                <a:gd name="connsiteY0" fmla="*/ 0 h 3086100"/>
                <a:gd name="connsiteX1" fmla="*/ 1790700 w 1790700"/>
                <a:gd name="connsiteY1" fmla="*/ 3086100 h 3086100"/>
                <a:gd name="connsiteX2" fmla="*/ 0 w 1790700"/>
                <a:gd name="connsiteY2" fmla="*/ 3067050 h 3086100"/>
                <a:gd name="connsiteX0" fmla="*/ 0 w 1733550"/>
                <a:gd name="connsiteY0" fmla="*/ 0 h 3086100"/>
                <a:gd name="connsiteX1" fmla="*/ 1733550 w 1733550"/>
                <a:gd name="connsiteY1" fmla="*/ 3086100 h 3086100"/>
                <a:gd name="connsiteX2" fmla="*/ 613087 w 1733550"/>
                <a:gd name="connsiteY2" fmla="*/ 3077523 h 3086100"/>
                <a:gd name="connsiteX0" fmla="*/ 245654 w 1120463"/>
                <a:gd name="connsiteY0" fmla="*/ 0 h 1525705"/>
                <a:gd name="connsiteX1" fmla="*/ 1120463 w 1120463"/>
                <a:gd name="connsiteY1" fmla="*/ 1525705 h 1525705"/>
                <a:gd name="connsiteX2" fmla="*/ 0 w 1120463"/>
                <a:gd name="connsiteY2" fmla="*/ 1517128 h 1525705"/>
                <a:gd name="connsiteX0" fmla="*/ 811167 w 1120463"/>
                <a:gd name="connsiteY0" fmla="*/ 0 h 1211531"/>
                <a:gd name="connsiteX1" fmla="*/ 1120463 w 1120463"/>
                <a:gd name="connsiteY1" fmla="*/ 1211531 h 1211531"/>
                <a:gd name="connsiteX2" fmla="*/ 0 w 1120463"/>
                <a:gd name="connsiteY2" fmla="*/ 1202954 h 1211531"/>
                <a:gd name="connsiteX0" fmla="*/ 874002 w 1183298"/>
                <a:gd name="connsiteY0" fmla="*/ 0 h 1213426"/>
                <a:gd name="connsiteX1" fmla="*/ 1183298 w 1183298"/>
                <a:gd name="connsiteY1" fmla="*/ 1211531 h 1213426"/>
                <a:gd name="connsiteX2" fmla="*/ 0 w 1183298"/>
                <a:gd name="connsiteY2" fmla="*/ 1213426 h 1213426"/>
                <a:gd name="connsiteX0" fmla="*/ 857693 w 1166989"/>
                <a:gd name="connsiteY0" fmla="*/ 0 h 1213426"/>
                <a:gd name="connsiteX1" fmla="*/ 1166989 w 1166989"/>
                <a:gd name="connsiteY1" fmla="*/ 1211531 h 1213426"/>
                <a:gd name="connsiteX2" fmla="*/ 0 w 1166989"/>
                <a:gd name="connsiteY2" fmla="*/ 1213426 h 1213426"/>
                <a:gd name="connsiteX0" fmla="*/ 1062735 w 1166989"/>
                <a:gd name="connsiteY0" fmla="*/ 0 h 857667"/>
                <a:gd name="connsiteX1" fmla="*/ 1166989 w 1166989"/>
                <a:gd name="connsiteY1" fmla="*/ 855772 h 857667"/>
                <a:gd name="connsiteX2" fmla="*/ 0 w 1166989"/>
                <a:gd name="connsiteY2" fmla="*/ 857667 h 857667"/>
                <a:gd name="connsiteX0" fmla="*/ 1037104 w 1166989"/>
                <a:gd name="connsiteY0" fmla="*/ 0 h 928818"/>
                <a:gd name="connsiteX1" fmla="*/ 1166989 w 1166989"/>
                <a:gd name="connsiteY1" fmla="*/ 926923 h 928818"/>
                <a:gd name="connsiteX2" fmla="*/ 0 w 1166989"/>
                <a:gd name="connsiteY2" fmla="*/ 928818 h 928818"/>
                <a:gd name="connsiteX0" fmla="*/ 1037104 w 1037104"/>
                <a:gd name="connsiteY0" fmla="*/ 0 h 962499"/>
                <a:gd name="connsiteX1" fmla="*/ 791077 w 1037104"/>
                <a:gd name="connsiteY1" fmla="*/ 962499 h 962499"/>
                <a:gd name="connsiteX2" fmla="*/ 0 w 1037104"/>
                <a:gd name="connsiteY2" fmla="*/ 928818 h 962499"/>
                <a:gd name="connsiteX0" fmla="*/ 1037104 w 1037104"/>
                <a:gd name="connsiteY0" fmla="*/ 0 h 962499"/>
                <a:gd name="connsiteX1" fmla="*/ 791077 w 1037104"/>
                <a:gd name="connsiteY1" fmla="*/ 962499 h 962499"/>
                <a:gd name="connsiteX2" fmla="*/ 0 w 1037104"/>
                <a:gd name="connsiteY2" fmla="*/ 955031 h 962499"/>
                <a:gd name="connsiteX0" fmla="*/ 1046547 w 1046547"/>
                <a:gd name="connsiteY0" fmla="*/ 0 h 949391"/>
                <a:gd name="connsiteX1" fmla="*/ 791077 w 1046547"/>
                <a:gd name="connsiteY1" fmla="*/ 949391 h 949391"/>
                <a:gd name="connsiteX2" fmla="*/ 0 w 1046547"/>
                <a:gd name="connsiteY2" fmla="*/ 941923 h 949391"/>
              </a:gdLst>
              <a:ahLst/>
              <a:cxnLst>
                <a:cxn ang="0">
                  <a:pos x="connsiteX0" y="connsiteY0"/>
                </a:cxn>
                <a:cxn ang="0">
                  <a:pos x="connsiteX1" y="connsiteY1"/>
                </a:cxn>
                <a:cxn ang="0">
                  <a:pos x="connsiteX2" y="connsiteY2"/>
                </a:cxn>
              </a:cxnLst>
              <a:rect l="l" t="t" r="r" b="b"/>
              <a:pathLst>
                <a:path w="1046547" h="949391">
                  <a:moveTo>
                    <a:pt x="1046547" y="0"/>
                  </a:moveTo>
                  <a:lnTo>
                    <a:pt x="791077" y="949391"/>
                  </a:lnTo>
                  <a:lnTo>
                    <a:pt x="0" y="941923"/>
                  </a:lnTo>
                </a:path>
              </a:pathLst>
            </a:custGeom>
            <a:gradFill>
              <a:gsLst>
                <a:gs pos="35000">
                  <a:srgbClr val="6CC04A"/>
                </a:gs>
                <a:gs pos="100000">
                  <a:schemeClr val="bg2">
                    <a:lumMod val="60000"/>
                    <a:lumOff val="4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grpSp>
      <p:sp>
        <p:nvSpPr>
          <p:cNvPr id="2" name="Title 1">
            <a:extLst>
              <a:ext uri="{FF2B5EF4-FFF2-40B4-BE49-F238E27FC236}">
                <a16:creationId xmlns:a16="http://schemas.microsoft.com/office/drawing/2014/main" id="{47A4D7EE-4EB9-47BD-B3ED-30248208721D}"/>
              </a:ext>
            </a:extLst>
          </p:cNvPr>
          <p:cNvSpPr>
            <a:spLocks noGrp="1"/>
          </p:cNvSpPr>
          <p:nvPr>
            <p:ph type="title" hasCustomPrompt="1"/>
          </p:nvPr>
        </p:nvSpPr>
        <p:spPr/>
        <p:txBody>
          <a:bodyPr/>
          <a:lstStyle>
            <a:lvl1pPr>
              <a:defRPr/>
            </a:lvl1pPr>
          </a:lstStyle>
          <a:p>
            <a:r>
              <a:rPr lang="en-US" dirty="0"/>
              <a:t>add title – keep it brief</a:t>
            </a:r>
          </a:p>
        </p:txBody>
      </p:sp>
      <p:sp>
        <p:nvSpPr>
          <p:cNvPr id="3" name="Freeform: Shape 2">
            <a:extLst>
              <a:ext uri="{FF2B5EF4-FFF2-40B4-BE49-F238E27FC236}">
                <a16:creationId xmlns:a16="http://schemas.microsoft.com/office/drawing/2014/main" id="{F7891CA3-52AD-419D-A88D-D02C97EA2FDB}"/>
              </a:ext>
            </a:extLst>
          </p:cNvPr>
          <p:cNvSpPr/>
          <p:nvPr userDrawn="1"/>
        </p:nvSpPr>
        <p:spPr>
          <a:xfrm>
            <a:off x="3048" y="6510528"/>
            <a:ext cx="12188952" cy="256032"/>
          </a:xfrm>
          <a:custGeom>
            <a:avLst/>
            <a:gdLst>
              <a:gd name="connsiteX0" fmla="*/ 8949770 w 12188952"/>
              <a:gd name="connsiteY0" fmla="*/ 0 h 233465"/>
              <a:gd name="connsiteX1" fmla="*/ 12188952 w 12188952"/>
              <a:gd name="connsiteY1" fmla="*/ 0 h 233465"/>
              <a:gd name="connsiteX2" fmla="*/ 12188952 w 12188952"/>
              <a:gd name="connsiteY2" fmla="*/ 114871 h 233465"/>
              <a:gd name="connsiteX3" fmla="*/ 12188952 w 12188952"/>
              <a:gd name="connsiteY3" fmla="*/ 169441 h 233465"/>
              <a:gd name="connsiteX4" fmla="*/ 12188952 w 12188952"/>
              <a:gd name="connsiteY4" fmla="*/ 233465 h 233465"/>
              <a:gd name="connsiteX5" fmla="*/ 9027859 w 12188952"/>
              <a:gd name="connsiteY5" fmla="*/ 233465 h 233465"/>
              <a:gd name="connsiteX6" fmla="*/ 1048596 w 12188952"/>
              <a:gd name="connsiteY6" fmla="*/ 233465 h 233465"/>
              <a:gd name="connsiteX7" fmla="*/ 33436 w 12188952"/>
              <a:gd name="connsiteY7" fmla="*/ 233465 h 233465"/>
              <a:gd name="connsiteX8" fmla="*/ 0 w 12188952"/>
              <a:gd name="connsiteY8" fmla="*/ 233465 h 233465"/>
              <a:gd name="connsiteX9" fmla="*/ 0 w 12188952"/>
              <a:gd name="connsiteY9" fmla="*/ 169375 h 233465"/>
              <a:gd name="connsiteX10" fmla="*/ 0 w 12188952"/>
              <a:gd name="connsiteY10" fmla="*/ 126232 h 233465"/>
              <a:gd name="connsiteX11" fmla="*/ 0 w 12188952"/>
              <a:gd name="connsiteY11" fmla="*/ 109891 h 233465"/>
              <a:gd name="connsiteX12" fmla="*/ 8695556 w 12188952"/>
              <a:gd name="connsiteY12" fmla="*/ 109891 h 233465"/>
              <a:gd name="connsiteX13" fmla="*/ 8949770 w 12188952"/>
              <a:gd name="connsiteY13" fmla="*/ 0 h 233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8952" h="233465">
                <a:moveTo>
                  <a:pt x="8949770" y="0"/>
                </a:moveTo>
                <a:lnTo>
                  <a:pt x="12188952" y="0"/>
                </a:lnTo>
                <a:lnTo>
                  <a:pt x="12188952" y="114871"/>
                </a:lnTo>
                <a:lnTo>
                  <a:pt x="12188952" y="169441"/>
                </a:lnTo>
                <a:lnTo>
                  <a:pt x="12188952" y="233465"/>
                </a:lnTo>
                <a:lnTo>
                  <a:pt x="9027859" y="233465"/>
                </a:lnTo>
                <a:lnTo>
                  <a:pt x="1048596" y="233465"/>
                </a:lnTo>
                <a:lnTo>
                  <a:pt x="33436" y="233465"/>
                </a:lnTo>
                <a:lnTo>
                  <a:pt x="0" y="233465"/>
                </a:lnTo>
                <a:lnTo>
                  <a:pt x="0" y="169375"/>
                </a:lnTo>
                <a:lnTo>
                  <a:pt x="0" y="126232"/>
                </a:lnTo>
                <a:lnTo>
                  <a:pt x="0" y="109891"/>
                </a:lnTo>
                <a:lnTo>
                  <a:pt x="8695556" y="109891"/>
                </a:lnTo>
                <a:lnTo>
                  <a:pt x="894977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086775" rtl="0" eaLnBrk="1" fontAlgn="auto" latinLnBrk="0" hangingPunct="1">
              <a:lnSpc>
                <a:spcPct val="90000"/>
              </a:lnSpc>
              <a:spcBef>
                <a:spcPts val="800"/>
              </a:spcBef>
              <a:spcAft>
                <a:spcPts val="0"/>
              </a:spcAft>
              <a:buClrTx/>
              <a:buSzTx/>
              <a:buFontTx/>
              <a:buNone/>
              <a:tabLst/>
              <a:defRPr/>
            </a:pPr>
            <a:r>
              <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rPr>
              <a:t>\</a:t>
            </a:r>
          </a:p>
        </p:txBody>
      </p:sp>
      <p:sp>
        <p:nvSpPr>
          <p:cNvPr id="4" name="Rectangle 6">
            <a:extLst>
              <a:ext uri="{FF2B5EF4-FFF2-40B4-BE49-F238E27FC236}">
                <a16:creationId xmlns:a16="http://schemas.microsoft.com/office/drawing/2014/main" id="{C5DF2EEF-1BAC-4B20-8913-75BDE2CA9ECE}"/>
              </a:ext>
            </a:extLst>
          </p:cNvPr>
          <p:cNvSpPr txBox="1">
            <a:spLocks noChangeArrowheads="1"/>
          </p:cNvSpPr>
          <p:nvPr userDrawn="1"/>
        </p:nvSpPr>
        <p:spPr bwMode="ltGray">
          <a:xfrm>
            <a:off x="11567159" y="6633988"/>
            <a:ext cx="452825" cy="12311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914400" eaLnBrk="0" fontAlgn="base" latinLnBrk="0" hangingPunct="0">
              <a:lnSpc>
                <a:spcPct val="100000"/>
              </a:lnSpc>
              <a:spcBef>
                <a:spcPct val="0"/>
              </a:spcBef>
              <a:spcAft>
                <a:spcPct val="0"/>
              </a:spcAft>
              <a:buClrTx/>
              <a:buSzTx/>
              <a:buFontTx/>
              <a:buNone/>
              <a:tabLst/>
              <a:defRPr/>
            </a:pPr>
            <a:fld id="{8D7874BA-B114-4D1F-A449-70AD1C45E88A}" type="slidenum">
              <a:rPr kumimoji="0" lang="en-US" sz="800" b="0" i="0" u="none" strike="noStrike" kern="0" cap="none" spc="0" normalizeH="0" baseline="0" noProof="0" smtClean="0">
                <a:ln>
                  <a:noFill/>
                </a:ln>
                <a:solidFill>
                  <a:schemeClr val="tx2">
                    <a:lumMod val="75000"/>
                  </a:schemeClr>
                </a:solidFill>
                <a:effectLst/>
                <a:uLnTx/>
                <a:uFillTx/>
                <a:ea typeface="MS PGothic" pitchFamily="34" charset="-128"/>
              </a:rPr>
              <a:pPr marL="0" marR="0" lvl="0" indent="0" algn="r" defTabSz="914400" eaLnBrk="0" fontAlgn="base" latinLnBrk="0" hangingPunct="0">
                <a:lnSpc>
                  <a:spcPct val="100000"/>
                </a:lnSpc>
                <a:spcBef>
                  <a:spcPct val="0"/>
                </a:spcBef>
                <a:spcAft>
                  <a:spcPct val="0"/>
                </a:spcAft>
                <a:buClrTx/>
                <a:buSzTx/>
                <a:buFontTx/>
                <a:buNone/>
                <a:tabLst/>
                <a:defRPr/>
              </a:pPr>
              <a:t>‹#›</a:t>
            </a:fld>
            <a:endParaRPr kumimoji="0" lang="en-US" sz="800" b="0" i="0" u="none" strike="noStrike" kern="0" cap="none" spc="0" normalizeH="0" baseline="0" noProof="0" dirty="0">
              <a:ln>
                <a:noFill/>
              </a:ln>
              <a:solidFill>
                <a:schemeClr val="tx2">
                  <a:lumMod val="75000"/>
                </a:schemeClr>
              </a:solidFill>
              <a:effectLst/>
              <a:uLnTx/>
              <a:uFillTx/>
              <a:ea typeface="MS PGothic" pitchFamily="34" charset="-128"/>
            </a:endParaRPr>
          </a:p>
        </p:txBody>
      </p:sp>
      <p:sp>
        <p:nvSpPr>
          <p:cNvPr id="5" name="Rectangle 4">
            <a:extLst>
              <a:ext uri="{FF2B5EF4-FFF2-40B4-BE49-F238E27FC236}">
                <a16:creationId xmlns:a16="http://schemas.microsoft.com/office/drawing/2014/main" id="{B93D1A75-0B7B-4C63-BB42-B08A8AAB7376}"/>
              </a:ext>
            </a:extLst>
          </p:cNvPr>
          <p:cNvSpPr/>
          <p:nvPr userDrawn="1"/>
        </p:nvSpPr>
        <p:spPr>
          <a:xfrm>
            <a:off x="496649" y="389410"/>
            <a:ext cx="955563" cy="45719"/>
          </a:xfrm>
          <a:prstGeom prst="rect">
            <a:avLst/>
          </a:prstGeom>
          <a:solidFill>
            <a:srgbClr val="5AB7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Tree>
    <p:extLst>
      <p:ext uri="{BB962C8B-B14F-4D97-AF65-F5344CB8AC3E}">
        <p14:creationId xmlns:p14="http://schemas.microsoft.com/office/powerpoint/2010/main" val="4024027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One-third/Two-third Content">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AD85CB9A-4B6E-46D5-93C1-6B94E6EC799C}"/>
              </a:ext>
            </a:extLst>
          </p:cNvPr>
          <p:cNvGrpSpPr/>
          <p:nvPr userDrawn="1"/>
        </p:nvGrpSpPr>
        <p:grpSpPr>
          <a:xfrm>
            <a:off x="567709" y="1509331"/>
            <a:ext cx="3558618" cy="4711129"/>
            <a:chOff x="567709" y="1528150"/>
            <a:chExt cx="3558618" cy="4692310"/>
          </a:xfrm>
        </p:grpSpPr>
        <p:sp>
          <p:nvSpPr>
            <p:cNvPr id="16" name="Rectangle 15">
              <a:extLst>
                <a:ext uri="{FF2B5EF4-FFF2-40B4-BE49-F238E27FC236}">
                  <a16:creationId xmlns:a16="http://schemas.microsoft.com/office/drawing/2014/main" id="{9A3E36D0-78B8-4B2E-80F7-98BD46D48237}"/>
                </a:ext>
              </a:extLst>
            </p:cNvPr>
            <p:cNvSpPr/>
            <p:nvPr userDrawn="1"/>
          </p:nvSpPr>
          <p:spPr>
            <a:xfrm>
              <a:off x="567709" y="1637881"/>
              <a:ext cx="3558618" cy="458257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s-PE" dirty="0">
                <a:solidFill>
                  <a:schemeClr val="bg1"/>
                </a:solidFill>
              </a:endParaRPr>
            </a:p>
          </p:txBody>
        </p:sp>
        <p:sp>
          <p:nvSpPr>
            <p:cNvPr id="17" name="Arrow: Pentagon 16">
              <a:extLst>
                <a:ext uri="{FF2B5EF4-FFF2-40B4-BE49-F238E27FC236}">
                  <a16:creationId xmlns:a16="http://schemas.microsoft.com/office/drawing/2014/main" id="{8CCC2144-0958-47CB-9C83-0A02FD60F9F7}"/>
                </a:ext>
              </a:extLst>
            </p:cNvPr>
            <p:cNvSpPr/>
            <p:nvPr userDrawn="1"/>
          </p:nvSpPr>
          <p:spPr>
            <a:xfrm>
              <a:off x="567710" y="1528150"/>
              <a:ext cx="1235088" cy="223284"/>
            </a:xfrm>
            <a:prstGeom prst="homePlat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s-PE" dirty="0">
                <a:solidFill>
                  <a:schemeClr val="bg1"/>
                </a:solidFill>
              </a:endParaRPr>
            </a:p>
          </p:txBody>
        </p:sp>
      </p:grpSp>
      <p:grpSp>
        <p:nvGrpSpPr>
          <p:cNvPr id="92" name="Group 91">
            <a:extLst>
              <a:ext uri="{FF2B5EF4-FFF2-40B4-BE49-F238E27FC236}">
                <a16:creationId xmlns:a16="http://schemas.microsoft.com/office/drawing/2014/main" id="{B12FF236-F99E-4479-85B4-369212AD24CC}"/>
              </a:ext>
            </a:extLst>
          </p:cNvPr>
          <p:cNvGrpSpPr/>
          <p:nvPr userDrawn="1"/>
        </p:nvGrpSpPr>
        <p:grpSpPr>
          <a:xfrm>
            <a:off x="3331998" y="1775504"/>
            <a:ext cx="631597" cy="594534"/>
            <a:chOff x="3331998" y="1775504"/>
            <a:chExt cx="631597" cy="594534"/>
          </a:xfrm>
        </p:grpSpPr>
        <p:sp>
          <p:nvSpPr>
            <p:cNvPr id="73" name="Freeform: Shape 72">
              <a:extLst>
                <a:ext uri="{FF2B5EF4-FFF2-40B4-BE49-F238E27FC236}">
                  <a16:creationId xmlns:a16="http://schemas.microsoft.com/office/drawing/2014/main" id="{3D0335EE-082B-49A5-8886-675F2FFC0959}"/>
                </a:ext>
              </a:extLst>
            </p:cNvPr>
            <p:cNvSpPr/>
            <p:nvPr userDrawn="1"/>
          </p:nvSpPr>
          <p:spPr>
            <a:xfrm flipH="1" flipV="1">
              <a:off x="3331998" y="1775507"/>
              <a:ext cx="236532" cy="243939"/>
            </a:xfrm>
            <a:custGeom>
              <a:avLst/>
              <a:gdLst>
                <a:gd name="connsiteX0" fmla="*/ 184242 w 236532"/>
                <a:gd name="connsiteY0" fmla="*/ 243939 h 243939"/>
                <a:gd name="connsiteX1" fmla="*/ 0 w 236532"/>
                <a:gd name="connsiteY1" fmla="*/ 243939 h 243939"/>
                <a:gd name="connsiteX2" fmla="*/ 236532 w 236532"/>
                <a:gd name="connsiteY2" fmla="*/ 0 h 243939"/>
                <a:gd name="connsiteX3" fmla="*/ 236532 w 236532"/>
                <a:gd name="connsiteY3" fmla="*/ 189945 h 243939"/>
                <a:gd name="connsiteX4" fmla="*/ 184242 w 236532"/>
                <a:gd name="connsiteY4" fmla="*/ 243939 h 243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6532" h="243939">
                  <a:moveTo>
                    <a:pt x="184242" y="243939"/>
                  </a:moveTo>
                  <a:lnTo>
                    <a:pt x="0" y="243939"/>
                  </a:lnTo>
                  <a:lnTo>
                    <a:pt x="236532" y="0"/>
                  </a:lnTo>
                  <a:lnTo>
                    <a:pt x="236532" y="189945"/>
                  </a:lnTo>
                  <a:lnTo>
                    <a:pt x="184242" y="243939"/>
                  </a:lnTo>
                  <a:close/>
                </a:path>
              </a:pathLst>
            </a:custGeom>
            <a:solidFill>
              <a:schemeClr val="bg1">
                <a:alpha val="10000"/>
              </a:schemeClr>
            </a:solidFill>
            <a:ln w="9525" cap="flat">
              <a:noFill/>
              <a:prstDash val="solid"/>
              <a:miter/>
            </a:ln>
          </p:spPr>
          <p:txBody>
            <a:bodyPr wrap="square" rtlCol="0" anchor="ctr">
              <a:noAutofit/>
            </a:bodyPr>
            <a:lstStyle/>
            <a:p>
              <a:endParaRPr lang="en-US" dirty="0"/>
            </a:p>
          </p:txBody>
        </p:sp>
        <p:sp>
          <p:nvSpPr>
            <p:cNvPr id="89" name="Freeform: Shape 88">
              <a:extLst>
                <a:ext uri="{FF2B5EF4-FFF2-40B4-BE49-F238E27FC236}">
                  <a16:creationId xmlns:a16="http://schemas.microsoft.com/office/drawing/2014/main" id="{CA1C461B-0D2D-4EBC-A03B-8B16A24B85DD}"/>
                </a:ext>
              </a:extLst>
            </p:cNvPr>
            <p:cNvSpPr/>
            <p:nvPr userDrawn="1"/>
          </p:nvSpPr>
          <p:spPr>
            <a:xfrm flipH="1" flipV="1">
              <a:off x="3723772" y="2122077"/>
              <a:ext cx="239823" cy="247961"/>
            </a:xfrm>
            <a:custGeom>
              <a:avLst/>
              <a:gdLst>
                <a:gd name="connsiteX0" fmla="*/ 0 w 239823"/>
                <a:gd name="connsiteY0" fmla="*/ 247961 h 247961"/>
                <a:gd name="connsiteX1" fmla="*/ 0 w 239823"/>
                <a:gd name="connsiteY1" fmla="*/ 57467 h 247961"/>
                <a:gd name="connsiteX2" fmla="*/ 55581 w 239823"/>
                <a:gd name="connsiteY2" fmla="*/ 0 h 247961"/>
                <a:gd name="connsiteX3" fmla="*/ 239823 w 239823"/>
                <a:gd name="connsiteY3" fmla="*/ 0 h 247961"/>
                <a:gd name="connsiteX4" fmla="*/ 0 w 239823"/>
                <a:gd name="connsiteY4" fmla="*/ 247961 h 2479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823" h="247961">
                  <a:moveTo>
                    <a:pt x="0" y="247961"/>
                  </a:moveTo>
                  <a:lnTo>
                    <a:pt x="0" y="57467"/>
                  </a:lnTo>
                  <a:lnTo>
                    <a:pt x="55581" y="0"/>
                  </a:lnTo>
                  <a:lnTo>
                    <a:pt x="239823" y="0"/>
                  </a:lnTo>
                  <a:lnTo>
                    <a:pt x="0" y="247961"/>
                  </a:lnTo>
                  <a:close/>
                </a:path>
              </a:pathLst>
            </a:custGeom>
            <a:solidFill>
              <a:schemeClr val="bg1">
                <a:alpha val="10000"/>
              </a:schemeClr>
            </a:solidFill>
            <a:ln w="9525" cap="flat">
              <a:noFill/>
              <a:prstDash val="solid"/>
              <a:miter/>
            </a:ln>
          </p:spPr>
          <p:txBody>
            <a:bodyPr wrap="square" rtlCol="0" anchor="ctr">
              <a:noAutofit/>
            </a:bodyPr>
            <a:lstStyle/>
            <a:p>
              <a:endParaRPr lang="en-US" dirty="0"/>
            </a:p>
          </p:txBody>
        </p:sp>
        <p:sp>
          <p:nvSpPr>
            <p:cNvPr id="82" name="Freeform: Shape 81">
              <a:extLst>
                <a:ext uri="{FF2B5EF4-FFF2-40B4-BE49-F238E27FC236}">
                  <a16:creationId xmlns:a16="http://schemas.microsoft.com/office/drawing/2014/main" id="{23666D4C-43E1-4899-A0D1-5640EFF2D767}"/>
                </a:ext>
              </a:extLst>
            </p:cNvPr>
            <p:cNvSpPr/>
            <p:nvPr userDrawn="1"/>
          </p:nvSpPr>
          <p:spPr>
            <a:xfrm>
              <a:off x="3340161" y="1775504"/>
              <a:ext cx="516651" cy="536140"/>
            </a:xfrm>
            <a:custGeom>
              <a:avLst/>
              <a:gdLst>
                <a:gd name="connsiteX0" fmla="*/ 332409 w 516651"/>
                <a:gd name="connsiteY0" fmla="*/ 0 h 536140"/>
                <a:gd name="connsiteX1" fmla="*/ 516651 w 516651"/>
                <a:gd name="connsiteY1" fmla="*/ 0 h 536140"/>
                <a:gd name="connsiteX2" fmla="*/ 0 w 516651"/>
                <a:gd name="connsiteY2" fmla="*/ 536140 h 536140"/>
                <a:gd name="connsiteX3" fmla="*/ 0 w 516651"/>
                <a:gd name="connsiteY3" fmla="*/ 344300 h 536140"/>
                <a:gd name="connsiteX4" fmla="*/ 332409 w 516651"/>
                <a:gd name="connsiteY4" fmla="*/ 0 h 5361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6651" h="536140">
                  <a:moveTo>
                    <a:pt x="332409" y="0"/>
                  </a:moveTo>
                  <a:lnTo>
                    <a:pt x="516651" y="0"/>
                  </a:lnTo>
                  <a:lnTo>
                    <a:pt x="0" y="536140"/>
                  </a:lnTo>
                  <a:lnTo>
                    <a:pt x="0" y="344300"/>
                  </a:lnTo>
                  <a:lnTo>
                    <a:pt x="332409" y="0"/>
                  </a:lnTo>
                  <a:close/>
                </a:path>
              </a:pathLst>
            </a:custGeom>
            <a:solidFill>
              <a:schemeClr val="bg1">
                <a:alpha val="10000"/>
              </a:schemeClr>
            </a:solidFill>
            <a:ln w="9525" cap="flat">
              <a:noFill/>
              <a:prstDash val="solid"/>
              <a:miter/>
            </a:ln>
          </p:spPr>
          <p:txBody>
            <a:bodyPr wrap="square" rtlCol="0" anchor="ctr">
              <a:noAutofit/>
            </a:bodyPr>
            <a:lstStyle/>
            <a:p>
              <a:pPr lvl="0"/>
              <a:endParaRPr lang="en-US" dirty="0">
                <a:solidFill>
                  <a:schemeClr val="tx1"/>
                </a:solidFill>
              </a:endParaRPr>
            </a:p>
          </p:txBody>
        </p:sp>
        <p:sp>
          <p:nvSpPr>
            <p:cNvPr id="86" name="Freeform: Shape 85">
              <a:extLst>
                <a:ext uri="{FF2B5EF4-FFF2-40B4-BE49-F238E27FC236}">
                  <a16:creationId xmlns:a16="http://schemas.microsoft.com/office/drawing/2014/main" id="{25D781CC-2319-4EA1-B52D-2909EADC4D4E}"/>
                </a:ext>
              </a:extLst>
            </p:cNvPr>
            <p:cNvSpPr/>
            <p:nvPr userDrawn="1"/>
          </p:nvSpPr>
          <p:spPr>
            <a:xfrm>
              <a:off x="3402110" y="1793022"/>
              <a:ext cx="556042" cy="577015"/>
            </a:xfrm>
            <a:custGeom>
              <a:avLst/>
              <a:gdLst>
                <a:gd name="connsiteX0" fmla="*/ 556042 w 556042"/>
                <a:gd name="connsiteY0" fmla="*/ 0 h 577015"/>
                <a:gd name="connsiteX1" fmla="*/ 556042 w 556042"/>
                <a:gd name="connsiteY1" fmla="*/ 191192 h 577015"/>
                <a:gd name="connsiteX2" fmla="*/ 184244 w 556042"/>
                <a:gd name="connsiteY2" fmla="*/ 577015 h 577015"/>
                <a:gd name="connsiteX3" fmla="*/ 0 w 556042"/>
                <a:gd name="connsiteY3" fmla="*/ 577015 h 577015"/>
                <a:gd name="connsiteX4" fmla="*/ 556042 w 556042"/>
                <a:gd name="connsiteY4" fmla="*/ 0 h 577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6042" h="577015">
                  <a:moveTo>
                    <a:pt x="556042" y="0"/>
                  </a:moveTo>
                  <a:lnTo>
                    <a:pt x="556042" y="191192"/>
                  </a:lnTo>
                  <a:lnTo>
                    <a:pt x="184244" y="577015"/>
                  </a:lnTo>
                  <a:lnTo>
                    <a:pt x="0" y="577015"/>
                  </a:lnTo>
                  <a:lnTo>
                    <a:pt x="556042" y="0"/>
                  </a:lnTo>
                  <a:close/>
                </a:path>
              </a:pathLst>
            </a:cu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lgn="l">
                <a:lnSpc>
                  <a:spcPct val="90000"/>
                </a:lnSpc>
                <a:spcBef>
                  <a:spcPts val="800"/>
                </a:spcBef>
                <a:buBlip>
                  <a:blip r:embed="rId2"/>
                </a:buBlip>
              </a:pPr>
              <a:endParaRPr lang="en-US" sz="1800" dirty="0">
                <a:solidFill>
                  <a:schemeClr val="bg1"/>
                </a:solidFill>
              </a:endParaRPr>
            </a:p>
          </p:txBody>
        </p:sp>
      </p:grpSp>
      <p:sp>
        <p:nvSpPr>
          <p:cNvPr id="14" name="Rectangle 13">
            <a:extLst>
              <a:ext uri="{FF2B5EF4-FFF2-40B4-BE49-F238E27FC236}">
                <a16:creationId xmlns:a16="http://schemas.microsoft.com/office/drawing/2014/main" id="{91DFB4FC-DBF3-4C25-B966-AEA10F97ECFF}"/>
              </a:ext>
            </a:extLst>
          </p:cNvPr>
          <p:cNvSpPr/>
          <p:nvPr userDrawn="1"/>
        </p:nvSpPr>
        <p:spPr>
          <a:xfrm>
            <a:off x="0" y="1509331"/>
            <a:ext cx="511478" cy="47111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s-PE" dirty="0">
              <a:solidFill>
                <a:schemeClr val="bg1"/>
              </a:solidFill>
            </a:endParaRPr>
          </a:p>
        </p:txBody>
      </p:sp>
      <p:sp>
        <p:nvSpPr>
          <p:cNvPr id="3" name="Content Placeholder 2"/>
          <p:cNvSpPr>
            <a:spLocks noGrp="1"/>
          </p:cNvSpPr>
          <p:nvPr userDrawn="1">
            <p:ph idx="1" hasCustomPrompt="1"/>
          </p:nvPr>
        </p:nvSpPr>
        <p:spPr>
          <a:xfrm>
            <a:off x="4561364" y="3186507"/>
            <a:ext cx="7095744" cy="1402435"/>
          </a:xfrm>
        </p:spPr>
        <p:txBody>
          <a:bodyPr vert="horz" lIns="0" tIns="0" rIns="0" bIns="0" rtlCol="0" anchor="ctr" anchorCtr="0">
            <a:sp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itle 11"/>
          <p:cNvSpPr>
            <a:spLocks noGrp="1"/>
          </p:cNvSpPr>
          <p:nvPr userDrawn="1">
            <p:ph type="title" hasCustomPrompt="1"/>
          </p:nvPr>
        </p:nvSpPr>
        <p:spPr/>
        <p:txBody>
          <a:bodyPr anchor="ctr" anchorCtr="0"/>
          <a:lstStyle>
            <a:lvl1pPr>
              <a:defRPr/>
            </a:lvl1pPr>
          </a:lstStyle>
          <a:p>
            <a:r>
              <a:rPr lang="en-US" dirty="0"/>
              <a:t>add title – keep it brief</a:t>
            </a:r>
          </a:p>
        </p:txBody>
      </p:sp>
      <p:sp>
        <p:nvSpPr>
          <p:cNvPr id="21" name="Text Placeholder 20">
            <a:extLst>
              <a:ext uri="{FF2B5EF4-FFF2-40B4-BE49-F238E27FC236}">
                <a16:creationId xmlns:a16="http://schemas.microsoft.com/office/drawing/2014/main" id="{25BD1AED-6D0A-4F50-922C-B2B90E0F1E52}"/>
              </a:ext>
            </a:extLst>
          </p:cNvPr>
          <p:cNvSpPr>
            <a:spLocks noGrp="1"/>
          </p:cNvSpPr>
          <p:nvPr>
            <p:ph type="body" sz="quarter" idx="14" hasCustomPrompt="1"/>
          </p:nvPr>
        </p:nvSpPr>
        <p:spPr>
          <a:xfrm>
            <a:off x="771144" y="3130080"/>
            <a:ext cx="3029331" cy="1515287"/>
          </a:xfrm>
        </p:spPr>
        <p:txBody>
          <a:bodyPr vert="horz" lIns="0" tIns="0" rIns="0" bIns="0" rtlCol="0" anchor="ctr" anchorCtr="0">
            <a:spAutoFit/>
          </a:bodyPr>
          <a:lstStyle>
            <a:lvl1pPr>
              <a:defRPr lang="en-US" dirty="0">
                <a:solidFill>
                  <a:schemeClr val="bg1"/>
                </a:solidFill>
              </a:defRPr>
            </a:lvl1pPr>
            <a:lvl2pPr>
              <a:defRPr>
                <a:solidFill>
                  <a:schemeClr val="bg1"/>
                </a:solidFill>
              </a:defRPr>
            </a:lvl2pPr>
            <a:lvl3pPr marL="896112" indent="-228600">
              <a:buFontTx/>
              <a:buBlip>
                <a:blip r:embed="rId3">
                  <a:extLst>
                    <a:ext uri="{96DAC541-7B7A-43D3-8B79-37D633B846F1}">
                      <asvg:svgBlip xmlns:asvg="http://schemas.microsoft.com/office/drawing/2016/SVG/main" r:embed="rId4"/>
                    </a:ext>
                  </a:extLst>
                </a:blip>
              </a:buBlip>
              <a:defRPr>
                <a:solidFill>
                  <a:schemeClr val="bg1"/>
                </a:solidFill>
              </a:defRPr>
            </a:lvl3pPr>
            <a:lvl4pPr marL="1143000" indent="-228600">
              <a:buFontTx/>
              <a:buBlip>
                <a:blip r:embed="rId5"/>
              </a:buBlip>
              <a:defRPr>
                <a:solidFill>
                  <a:schemeClr val="bg1"/>
                </a:solidFill>
              </a:defRPr>
            </a:lvl4pPr>
          </a:lstStyle>
          <a:p>
            <a:pPr lvl="0"/>
            <a:r>
              <a:rPr lang="en-US" dirty="0"/>
              <a:t>Add call out text here</a:t>
            </a:r>
          </a:p>
          <a:p>
            <a:pPr lvl="1"/>
            <a:r>
              <a:rPr lang="en-US" dirty="0"/>
              <a:t>Bullet 2</a:t>
            </a:r>
          </a:p>
          <a:p>
            <a:pPr lvl="2"/>
            <a:r>
              <a:rPr lang="en-US" dirty="0"/>
              <a:t>Bullet 3</a:t>
            </a:r>
          </a:p>
          <a:p>
            <a:pPr lvl="3"/>
            <a:r>
              <a:rPr lang="en-US" dirty="0"/>
              <a:t>Bullet 4</a:t>
            </a:r>
          </a:p>
        </p:txBody>
      </p:sp>
      <p:sp>
        <p:nvSpPr>
          <p:cNvPr id="74" name="Freeform: Shape 73">
            <a:extLst>
              <a:ext uri="{FF2B5EF4-FFF2-40B4-BE49-F238E27FC236}">
                <a16:creationId xmlns:a16="http://schemas.microsoft.com/office/drawing/2014/main" id="{4C10FBDB-41E4-496C-8570-6220B8FEEEEC}"/>
              </a:ext>
            </a:extLst>
          </p:cNvPr>
          <p:cNvSpPr/>
          <p:nvPr userDrawn="1"/>
        </p:nvSpPr>
        <p:spPr>
          <a:xfrm flipH="1" flipV="1">
            <a:off x="4290848" y="1775505"/>
            <a:ext cx="192186" cy="198707"/>
          </a:xfrm>
          <a:custGeom>
            <a:avLst/>
            <a:gdLst>
              <a:gd name="connsiteX0" fmla="*/ 184242 w 192186"/>
              <a:gd name="connsiteY0" fmla="*/ 198707 h 198707"/>
              <a:gd name="connsiteX1" fmla="*/ 0 w 192186"/>
              <a:gd name="connsiteY1" fmla="*/ 198707 h 198707"/>
              <a:gd name="connsiteX2" fmla="*/ 192186 w 192186"/>
              <a:gd name="connsiteY2" fmla="*/ 0 h 198707"/>
              <a:gd name="connsiteX3" fmla="*/ 192186 w 192186"/>
              <a:gd name="connsiteY3" fmla="*/ 190494 h 198707"/>
              <a:gd name="connsiteX4" fmla="*/ 184242 w 192186"/>
              <a:gd name="connsiteY4" fmla="*/ 198707 h 1987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186" h="198707">
                <a:moveTo>
                  <a:pt x="184242" y="198707"/>
                </a:moveTo>
                <a:lnTo>
                  <a:pt x="0" y="198707"/>
                </a:lnTo>
                <a:lnTo>
                  <a:pt x="192186" y="0"/>
                </a:lnTo>
                <a:lnTo>
                  <a:pt x="192186" y="190494"/>
                </a:lnTo>
                <a:lnTo>
                  <a:pt x="184242" y="198707"/>
                </a:lnTo>
                <a:close/>
              </a:path>
            </a:pathLst>
          </a:custGeom>
          <a:solidFill>
            <a:schemeClr val="bg1">
              <a:alpha val="40000"/>
            </a:schemeClr>
          </a:solidFill>
          <a:ln w="9525" cap="flat">
            <a:noFill/>
            <a:prstDash val="solid"/>
            <a:miter/>
          </a:ln>
        </p:spPr>
        <p:txBody>
          <a:bodyPr wrap="square" rtlCol="0" anchor="ctr">
            <a:noAutofit/>
          </a:bodyPr>
          <a:lstStyle/>
          <a:p>
            <a:endParaRPr lang="en-US" dirty="0"/>
          </a:p>
        </p:txBody>
      </p:sp>
      <p:grpSp>
        <p:nvGrpSpPr>
          <p:cNvPr id="27" name="Group 26">
            <a:extLst>
              <a:ext uri="{FF2B5EF4-FFF2-40B4-BE49-F238E27FC236}">
                <a16:creationId xmlns:a16="http://schemas.microsoft.com/office/drawing/2014/main" id="{B629DC23-4580-422E-9524-A6BDD0FBEEB4}"/>
              </a:ext>
            </a:extLst>
          </p:cNvPr>
          <p:cNvGrpSpPr/>
          <p:nvPr userDrawn="1"/>
        </p:nvGrpSpPr>
        <p:grpSpPr>
          <a:xfrm>
            <a:off x="3505373" y="2988934"/>
            <a:ext cx="478233" cy="3067294"/>
            <a:chOff x="3543714" y="2978301"/>
            <a:chExt cx="478233" cy="3067294"/>
          </a:xfrm>
        </p:grpSpPr>
        <p:cxnSp>
          <p:nvCxnSpPr>
            <p:cNvPr id="28" name="Straight Connector 27">
              <a:extLst>
                <a:ext uri="{FF2B5EF4-FFF2-40B4-BE49-F238E27FC236}">
                  <a16:creationId xmlns:a16="http://schemas.microsoft.com/office/drawing/2014/main" id="{F36558BD-2FE6-4824-9681-AC6B50FC2825}"/>
                </a:ext>
              </a:extLst>
            </p:cNvPr>
            <p:cNvCxnSpPr/>
            <p:nvPr userDrawn="1"/>
          </p:nvCxnSpPr>
          <p:spPr>
            <a:xfrm>
              <a:off x="4018231" y="2978301"/>
              <a:ext cx="0" cy="3063244"/>
            </a:xfrm>
            <a:prstGeom prst="line">
              <a:avLst/>
            </a:prstGeom>
            <a:ln w="3175">
              <a:solidFill>
                <a:srgbClr val="808888"/>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290F29F5-4529-4B00-A185-F237BA88D7D4}"/>
                </a:ext>
              </a:extLst>
            </p:cNvPr>
            <p:cNvCxnSpPr>
              <a:cxnSpLocks/>
            </p:cNvCxnSpPr>
            <p:nvPr userDrawn="1"/>
          </p:nvCxnSpPr>
          <p:spPr>
            <a:xfrm>
              <a:off x="4018231" y="5043883"/>
              <a:ext cx="0" cy="1001712"/>
            </a:xfrm>
            <a:prstGeom prst="line">
              <a:avLst/>
            </a:prstGeom>
            <a:ln w="9525">
              <a:solidFill>
                <a:srgbClr val="FFFFFE"/>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860F12DB-F906-46E7-BB6C-A0C096CDEF4D}"/>
                </a:ext>
              </a:extLst>
            </p:cNvPr>
            <p:cNvCxnSpPr>
              <a:cxnSpLocks/>
            </p:cNvCxnSpPr>
            <p:nvPr userDrawn="1"/>
          </p:nvCxnSpPr>
          <p:spPr>
            <a:xfrm>
              <a:off x="3543714" y="6041913"/>
              <a:ext cx="478233" cy="0"/>
            </a:xfrm>
            <a:prstGeom prst="line">
              <a:avLst/>
            </a:prstGeom>
            <a:ln w="19050">
              <a:solidFill>
                <a:srgbClr val="FFFFFE"/>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411446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Image or Graphic &amp; Content ">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302CDFFB-3296-45F1-837F-BC567AD0FD53}"/>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r="53787"/>
          <a:stretch/>
        </p:blipFill>
        <p:spPr>
          <a:xfrm>
            <a:off x="11030375" y="2866175"/>
            <a:ext cx="1161626" cy="2313432"/>
          </a:xfrm>
          <a:prstGeom prst="rect">
            <a:avLst/>
          </a:prstGeom>
        </p:spPr>
      </p:pic>
      <p:grpSp>
        <p:nvGrpSpPr>
          <p:cNvPr id="5" name="Group 4">
            <a:extLst>
              <a:ext uri="{FF2B5EF4-FFF2-40B4-BE49-F238E27FC236}">
                <a16:creationId xmlns:a16="http://schemas.microsoft.com/office/drawing/2014/main" id="{F6F2220D-D049-431F-AE4C-66F06B49D14E}"/>
              </a:ext>
            </a:extLst>
          </p:cNvPr>
          <p:cNvGrpSpPr/>
          <p:nvPr userDrawn="1"/>
        </p:nvGrpSpPr>
        <p:grpSpPr>
          <a:xfrm>
            <a:off x="567709" y="1509331"/>
            <a:ext cx="3558618" cy="4711129"/>
            <a:chOff x="567709" y="1528150"/>
            <a:chExt cx="3558618" cy="4692310"/>
          </a:xfrm>
        </p:grpSpPr>
        <p:sp>
          <p:nvSpPr>
            <p:cNvPr id="48" name="Rectangle 47">
              <a:extLst>
                <a:ext uri="{FF2B5EF4-FFF2-40B4-BE49-F238E27FC236}">
                  <a16:creationId xmlns:a16="http://schemas.microsoft.com/office/drawing/2014/main" id="{9DD92F5C-AA83-4505-B194-3EB6A01DC91C}"/>
                </a:ext>
              </a:extLst>
            </p:cNvPr>
            <p:cNvSpPr/>
            <p:nvPr userDrawn="1"/>
          </p:nvSpPr>
          <p:spPr>
            <a:xfrm>
              <a:off x="567709" y="1637881"/>
              <a:ext cx="3558618" cy="458257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s-PE" dirty="0">
                <a:solidFill>
                  <a:schemeClr val="bg1"/>
                </a:solidFill>
              </a:endParaRPr>
            </a:p>
          </p:txBody>
        </p:sp>
        <p:sp>
          <p:nvSpPr>
            <p:cNvPr id="4" name="Arrow: Pentagon 3">
              <a:extLst>
                <a:ext uri="{FF2B5EF4-FFF2-40B4-BE49-F238E27FC236}">
                  <a16:creationId xmlns:a16="http://schemas.microsoft.com/office/drawing/2014/main" id="{AD96E9CE-0E6C-4361-B959-D892AE199199}"/>
                </a:ext>
              </a:extLst>
            </p:cNvPr>
            <p:cNvSpPr/>
            <p:nvPr userDrawn="1"/>
          </p:nvSpPr>
          <p:spPr>
            <a:xfrm>
              <a:off x="567710" y="1528150"/>
              <a:ext cx="1235088" cy="223284"/>
            </a:xfrm>
            <a:prstGeom prst="homePlat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s-PE" dirty="0">
                <a:solidFill>
                  <a:schemeClr val="bg1"/>
                </a:solidFill>
              </a:endParaRPr>
            </a:p>
          </p:txBody>
        </p:sp>
      </p:grpSp>
      <p:grpSp>
        <p:nvGrpSpPr>
          <p:cNvPr id="50" name="Group 49">
            <a:extLst>
              <a:ext uri="{FF2B5EF4-FFF2-40B4-BE49-F238E27FC236}">
                <a16:creationId xmlns:a16="http://schemas.microsoft.com/office/drawing/2014/main" id="{49522EDF-6B64-40DC-AF8F-1193DB30E268}"/>
              </a:ext>
            </a:extLst>
          </p:cNvPr>
          <p:cNvGrpSpPr/>
          <p:nvPr userDrawn="1"/>
        </p:nvGrpSpPr>
        <p:grpSpPr>
          <a:xfrm>
            <a:off x="3331998" y="1775504"/>
            <a:ext cx="631597" cy="594534"/>
            <a:chOff x="3331998" y="1775504"/>
            <a:chExt cx="631597" cy="594534"/>
          </a:xfrm>
        </p:grpSpPr>
        <p:sp>
          <p:nvSpPr>
            <p:cNvPr id="51" name="Freeform: Shape 50">
              <a:extLst>
                <a:ext uri="{FF2B5EF4-FFF2-40B4-BE49-F238E27FC236}">
                  <a16:creationId xmlns:a16="http://schemas.microsoft.com/office/drawing/2014/main" id="{446C2A21-3B85-4654-B356-193FF4A73DE5}"/>
                </a:ext>
              </a:extLst>
            </p:cNvPr>
            <p:cNvSpPr/>
            <p:nvPr userDrawn="1"/>
          </p:nvSpPr>
          <p:spPr>
            <a:xfrm flipH="1" flipV="1">
              <a:off x="3331998" y="1775507"/>
              <a:ext cx="236532" cy="243939"/>
            </a:xfrm>
            <a:custGeom>
              <a:avLst/>
              <a:gdLst>
                <a:gd name="connsiteX0" fmla="*/ 184242 w 236532"/>
                <a:gd name="connsiteY0" fmla="*/ 243939 h 243939"/>
                <a:gd name="connsiteX1" fmla="*/ 0 w 236532"/>
                <a:gd name="connsiteY1" fmla="*/ 243939 h 243939"/>
                <a:gd name="connsiteX2" fmla="*/ 236532 w 236532"/>
                <a:gd name="connsiteY2" fmla="*/ 0 h 243939"/>
                <a:gd name="connsiteX3" fmla="*/ 236532 w 236532"/>
                <a:gd name="connsiteY3" fmla="*/ 189945 h 243939"/>
                <a:gd name="connsiteX4" fmla="*/ 184242 w 236532"/>
                <a:gd name="connsiteY4" fmla="*/ 243939 h 243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6532" h="243939">
                  <a:moveTo>
                    <a:pt x="184242" y="243939"/>
                  </a:moveTo>
                  <a:lnTo>
                    <a:pt x="0" y="243939"/>
                  </a:lnTo>
                  <a:lnTo>
                    <a:pt x="236532" y="0"/>
                  </a:lnTo>
                  <a:lnTo>
                    <a:pt x="236532" y="189945"/>
                  </a:lnTo>
                  <a:lnTo>
                    <a:pt x="184242" y="243939"/>
                  </a:lnTo>
                  <a:close/>
                </a:path>
              </a:pathLst>
            </a:custGeom>
            <a:solidFill>
              <a:schemeClr val="bg1">
                <a:alpha val="10000"/>
              </a:schemeClr>
            </a:solidFill>
            <a:ln w="9525" cap="flat">
              <a:noFill/>
              <a:prstDash val="solid"/>
              <a:miter/>
            </a:ln>
          </p:spPr>
          <p:txBody>
            <a:bodyPr wrap="square" rtlCol="0" anchor="ctr">
              <a:noAutofit/>
            </a:bodyPr>
            <a:lstStyle/>
            <a:p>
              <a:endParaRPr lang="en-US" dirty="0"/>
            </a:p>
          </p:txBody>
        </p:sp>
        <p:sp>
          <p:nvSpPr>
            <p:cNvPr id="52" name="Freeform: Shape 51">
              <a:extLst>
                <a:ext uri="{FF2B5EF4-FFF2-40B4-BE49-F238E27FC236}">
                  <a16:creationId xmlns:a16="http://schemas.microsoft.com/office/drawing/2014/main" id="{BF504655-6790-490E-BA0D-242ED3E5FA88}"/>
                </a:ext>
              </a:extLst>
            </p:cNvPr>
            <p:cNvSpPr/>
            <p:nvPr userDrawn="1"/>
          </p:nvSpPr>
          <p:spPr>
            <a:xfrm flipH="1" flipV="1">
              <a:off x="3723772" y="2122077"/>
              <a:ext cx="239823" cy="247961"/>
            </a:xfrm>
            <a:custGeom>
              <a:avLst/>
              <a:gdLst>
                <a:gd name="connsiteX0" fmla="*/ 0 w 239823"/>
                <a:gd name="connsiteY0" fmla="*/ 247961 h 247961"/>
                <a:gd name="connsiteX1" fmla="*/ 0 w 239823"/>
                <a:gd name="connsiteY1" fmla="*/ 57467 h 247961"/>
                <a:gd name="connsiteX2" fmla="*/ 55581 w 239823"/>
                <a:gd name="connsiteY2" fmla="*/ 0 h 247961"/>
                <a:gd name="connsiteX3" fmla="*/ 239823 w 239823"/>
                <a:gd name="connsiteY3" fmla="*/ 0 h 247961"/>
                <a:gd name="connsiteX4" fmla="*/ 0 w 239823"/>
                <a:gd name="connsiteY4" fmla="*/ 247961 h 2479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823" h="247961">
                  <a:moveTo>
                    <a:pt x="0" y="247961"/>
                  </a:moveTo>
                  <a:lnTo>
                    <a:pt x="0" y="57467"/>
                  </a:lnTo>
                  <a:lnTo>
                    <a:pt x="55581" y="0"/>
                  </a:lnTo>
                  <a:lnTo>
                    <a:pt x="239823" y="0"/>
                  </a:lnTo>
                  <a:lnTo>
                    <a:pt x="0" y="247961"/>
                  </a:lnTo>
                  <a:close/>
                </a:path>
              </a:pathLst>
            </a:custGeom>
            <a:solidFill>
              <a:schemeClr val="bg1">
                <a:alpha val="10000"/>
              </a:schemeClr>
            </a:solidFill>
            <a:ln w="9525" cap="flat">
              <a:noFill/>
              <a:prstDash val="solid"/>
              <a:miter/>
            </a:ln>
          </p:spPr>
          <p:txBody>
            <a:bodyPr wrap="square" rtlCol="0" anchor="ctr">
              <a:noAutofit/>
            </a:bodyPr>
            <a:lstStyle/>
            <a:p>
              <a:endParaRPr lang="en-US" dirty="0"/>
            </a:p>
          </p:txBody>
        </p:sp>
        <p:sp>
          <p:nvSpPr>
            <p:cNvPr id="53" name="Freeform: Shape 52">
              <a:extLst>
                <a:ext uri="{FF2B5EF4-FFF2-40B4-BE49-F238E27FC236}">
                  <a16:creationId xmlns:a16="http://schemas.microsoft.com/office/drawing/2014/main" id="{6E483918-9EBB-4FAD-A165-6274601D3246}"/>
                </a:ext>
              </a:extLst>
            </p:cNvPr>
            <p:cNvSpPr/>
            <p:nvPr userDrawn="1"/>
          </p:nvSpPr>
          <p:spPr>
            <a:xfrm>
              <a:off x="3340161" y="1775504"/>
              <a:ext cx="516651" cy="536140"/>
            </a:xfrm>
            <a:custGeom>
              <a:avLst/>
              <a:gdLst>
                <a:gd name="connsiteX0" fmla="*/ 332409 w 516651"/>
                <a:gd name="connsiteY0" fmla="*/ 0 h 536140"/>
                <a:gd name="connsiteX1" fmla="*/ 516651 w 516651"/>
                <a:gd name="connsiteY1" fmla="*/ 0 h 536140"/>
                <a:gd name="connsiteX2" fmla="*/ 0 w 516651"/>
                <a:gd name="connsiteY2" fmla="*/ 536140 h 536140"/>
                <a:gd name="connsiteX3" fmla="*/ 0 w 516651"/>
                <a:gd name="connsiteY3" fmla="*/ 344300 h 536140"/>
                <a:gd name="connsiteX4" fmla="*/ 332409 w 516651"/>
                <a:gd name="connsiteY4" fmla="*/ 0 h 5361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6651" h="536140">
                  <a:moveTo>
                    <a:pt x="332409" y="0"/>
                  </a:moveTo>
                  <a:lnTo>
                    <a:pt x="516651" y="0"/>
                  </a:lnTo>
                  <a:lnTo>
                    <a:pt x="0" y="536140"/>
                  </a:lnTo>
                  <a:lnTo>
                    <a:pt x="0" y="344300"/>
                  </a:lnTo>
                  <a:lnTo>
                    <a:pt x="332409" y="0"/>
                  </a:lnTo>
                  <a:close/>
                </a:path>
              </a:pathLst>
            </a:custGeom>
            <a:solidFill>
              <a:schemeClr val="bg1">
                <a:alpha val="10000"/>
              </a:schemeClr>
            </a:solidFill>
            <a:ln w="9525" cap="flat">
              <a:noFill/>
              <a:prstDash val="solid"/>
              <a:miter/>
            </a:ln>
          </p:spPr>
          <p:txBody>
            <a:bodyPr wrap="square" rtlCol="0" anchor="ctr">
              <a:noAutofit/>
            </a:bodyPr>
            <a:lstStyle/>
            <a:p>
              <a:pPr lvl="0"/>
              <a:endParaRPr lang="en-US" dirty="0">
                <a:solidFill>
                  <a:schemeClr val="tx1"/>
                </a:solidFill>
              </a:endParaRPr>
            </a:p>
          </p:txBody>
        </p:sp>
        <p:sp>
          <p:nvSpPr>
            <p:cNvPr id="54" name="Freeform: Shape 53">
              <a:extLst>
                <a:ext uri="{FF2B5EF4-FFF2-40B4-BE49-F238E27FC236}">
                  <a16:creationId xmlns:a16="http://schemas.microsoft.com/office/drawing/2014/main" id="{47A04C62-89DA-486D-AA08-D9D25B318A53}"/>
                </a:ext>
              </a:extLst>
            </p:cNvPr>
            <p:cNvSpPr/>
            <p:nvPr userDrawn="1"/>
          </p:nvSpPr>
          <p:spPr>
            <a:xfrm>
              <a:off x="3402110" y="1793022"/>
              <a:ext cx="556042" cy="577015"/>
            </a:xfrm>
            <a:custGeom>
              <a:avLst/>
              <a:gdLst>
                <a:gd name="connsiteX0" fmla="*/ 556042 w 556042"/>
                <a:gd name="connsiteY0" fmla="*/ 0 h 577015"/>
                <a:gd name="connsiteX1" fmla="*/ 556042 w 556042"/>
                <a:gd name="connsiteY1" fmla="*/ 191192 h 577015"/>
                <a:gd name="connsiteX2" fmla="*/ 184244 w 556042"/>
                <a:gd name="connsiteY2" fmla="*/ 577015 h 577015"/>
                <a:gd name="connsiteX3" fmla="*/ 0 w 556042"/>
                <a:gd name="connsiteY3" fmla="*/ 577015 h 577015"/>
                <a:gd name="connsiteX4" fmla="*/ 556042 w 556042"/>
                <a:gd name="connsiteY4" fmla="*/ 0 h 577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6042" h="577015">
                  <a:moveTo>
                    <a:pt x="556042" y="0"/>
                  </a:moveTo>
                  <a:lnTo>
                    <a:pt x="556042" y="191192"/>
                  </a:lnTo>
                  <a:lnTo>
                    <a:pt x="184244" y="577015"/>
                  </a:lnTo>
                  <a:lnTo>
                    <a:pt x="0" y="577015"/>
                  </a:lnTo>
                  <a:lnTo>
                    <a:pt x="556042" y="0"/>
                  </a:lnTo>
                  <a:close/>
                </a:path>
              </a:pathLst>
            </a:cu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lgn="l">
                <a:lnSpc>
                  <a:spcPct val="90000"/>
                </a:lnSpc>
                <a:spcBef>
                  <a:spcPts val="800"/>
                </a:spcBef>
                <a:buBlip>
                  <a:blip r:embed="rId4"/>
                </a:buBlip>
              </a:pPr>
              <a:endParaRPr lang="en-US" sz="1800" dirty="0">
                <a:solidFill>
                  <a:schemeClr val="bg1"/>
                </a:solidFill>
              </a:endParaRPr>
            </a:p>
          </p:txBody>
        </p:sp>
      </p:grpSp>
      <p:sp>
        <p:nvSpPr>
          <p:cNvPr id="3" name="Rectangle 2">
            <a:extLst>
              <a:ext uri="{FF2B5EF4-FFF2-40B4-BE49-F238E27FC236}">
                <a16:creationId xmlns:a16="http://schemas.microsoft.com/office/drawing/2014/main" id="{7EBF904B-CA77-4E86-A6A3-73D2F703B031}"/>
              </a:ext>
            </a:extLst>
          </p:cNvPr>
          <p:cNvSpPr/>
          <p:nvPr userDrawn="1"/>
        </p:nvSpPr>
        <p:spPr>
          <a:xfrm>
            <a:off x="0" y="1509331"/>
            <a:ext cx="511478" cy="47111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s-PE" dirty="0">
              <a:solidFill>
                <a:schemeClr val="bg1"/>
              </a:solidFill>
            </a:endParaRPr>
          </a:p>
        </p:txBody>
      </p:sp>
      <p:sp>
        <p:nvSpPr>
          <p:cNvPr id="6" name="Picture Placeholder 5">
            <a:extLst>
              <a:ext uri="{FF2B5EF4-FFF2-40B4-BE49-F238E27FC236}">
                <a16:creationId xmlns:a16="http://schemas.microsoft.com/office/drawing/2014/main" id="{82D39170-48C3-4960-8251-B18662DAF534}"/>
              </a:ext>
            </a:extLst>
          </p:cNvPr>
          <p:cNvSpPr>
            <a:spLocks noGrp="1"/>
          </p:cNvSpPr>
          <p:nvPr>
            <p:ph type="pic" sz="quarter" idx="10" hasCustomPrompt="1"/>
          </p:nvPr>
        </p:nvSpPr>
        <p:spPr>
          <a:xfrm>
            <a:off x="4573905" y="1648460"/>
            <a:ext cx="7096125" cy="4572000"/>
          </a:xfrm>
          <a:solidFill>
            <a:schemeClr val="bg1">
              <a:lumMod val="95000"/>
            </a:schemeClr>
          </a:solidFill>
          <a:ln w="9525">
            <a:solidFill>
              <a:schemeClr val="bg2"/>
            </a:solidFill>
          </a:ln>
        </p:spPr>
        <p:style>
          <a:lnRef idx="1">
            <a:schemeClr val="accent1"/>
          </a:lnRef>
          <a:fillRef idx="0">
            <a:schemeClr val="accent1"/>
          </a:fillRef>
          <a:effectRef idx="0">
            <a:schemeClr val="accent1"/>
          </a:effectRef>
          <a:fontRef idx="minor">
            <a:schemeClr val="tx1"/>
          </a:fontRef>
        </p:style>
        <p:txBody>
          <a:bodyPr tIns="1645920"/>
          <a:lstStyle>
            <a:lvl1pPr marL="0" indent="0" algn="ctr">
              <a:buFontTx/>
              <a:buNone/>
              <a:defRPr>
                <a:solidFill>
                  <a:schemeClr val="accent5"/>
                </a:solidFill>
              </a:defRPr>
            </a:lvl1pPr>
          </a:lstStyle>
          <a:p>
            <a:r>
              <a:rPr lang="en-US" dirty="0"/>
              <a:t>Insert picture</a:t>
            </a:r>
          </a:p>
        </p:txBody>
      </p:sp>
      <p:sp>
        <p:nvSpPr>
          <p:cNvPr id="2" name="Title 1">
            <a:extLst>
              <a:ext uri="{FF2B5EF4-FFF2-40B4-BE49-F238E27FC236}">
                <a16:creationId xmlns:a16="http://schemas.microsoft.com/office/drawing/2014/main" id="{F6E69CCC-D78C-4592-9155-75F363BF7096}"/>
              </a:ext>
            </a:extLst>
          </p:cNvPr>
          <p:cNvSpPr>
            <a:spLocks noGrp="1"/>
          </p:cNvSpPr>
          <p:nvPr>
            <p:ph type="title" hasCustomPrompt="1"/>
          </p:nvPr>
        </p:nvSpPr>
        <p:spPr/>
        <p:txBody>
          <a:bodyPr/>
          <a:lstStyle>
            <a:lvl1pPr>
              <a:defRPr/>
            </a:lvl1pPr>
          </a:lstStyle>
          <a:p>
            <a:r>
              <a:rPr lang="en-US" dirty="0"/>
              <a:t>add title – keep it brief</a:t>
            </a:r>
          </a:p>
        </p:txBody>
      </p:sp>
      <p:grpSp>
        <p:nvGrpSpPr>
          <p:cNvPr id="7" name="Group 6">
            <a:extLst>
              <a:ext uri="{FF2B5EF4-FFF2-40B4-BE49-F238E27FC236}">
                <a16:creationId xmlns:a16="http://schemas.microsoft.com/office/drawing/2014/main" id="{9795F8D8-B864-44F4-B9A1-57563E6F0B07}"/>
              </a:ext>
            </a:extLst>
          </p:cNvPr>
          <p:cNvGrpSpPr/>
          <p:nvPr userDrawn="1"/>
        </p:nvGrpSpPr>
        <p:grpSpPr>
          <a:xfrm>
            <a:off x="4573905" y="1453579"/>
            <a:ext cx="5252910" cy="55752"/>
            <a:chOff x="4573905" y="1453579"/>
            <a:chExt cx="5252910" cy="55752"/>
          </a:xfrm>
        </p:grpSpPr>
        <p:sp>
          <p:nvSpPr>
            <p:cNvPr id="16" name="Freeform: Shape 15">
              <a:extLst>
                <a:ext uri="{FF2B5EF4-FFF2-40B4-BE49-F238E27FC236}">
                  <a16:creationId xmlns:a16="http://schemas.microsoft.com/office/drawing/2014/main" id="{DFBEEA6F-668D-442E-A0D4-9939E1D82CB5}"/>
                </a:ext>
              </a:extLst>
            </p:cNvPr>
            <p:cNvSpPr/>
            <p:nvPr userDrawn="1"/>
          </p:nvSpPr>
          <p:spPr>
            <a:xfrm>
              <a:off x="4573905" y="1465962"/>
              <a:ext cx="5252910" cy="24257"/>
            </a:xfrm>
            <a:custGeom>
              <a:avLst/>
              <a:gdLst>
                <a:gd name="connsiteX0" fmla="*/ 5252910 w 5252910"/>
                <a:gd name="connsiteY0" fmla="*/ 24257 h 24257"/>
                <a:gd name="connsiteX1" fmla="*/ 4848860 w 5252910"/>
                <a:gd name="connsiteY1" fmla="*/ 24257 h 24257"/>
                <a:gd name="connsiteX2" fmla="*/ 4848860 w 5252910"/>
                <a:gd name="connsiteY2" fmla="*/ 0 h 24257"/>
                <a:gd name="connsiteX3" fmla="*/ 5252910 w 5252910"/>
                <a:gd name="connsiteY3" fmla="*/ 0 h 24257"/>
                <a:gd name="connsiteX4" fmla="*/ 5252910 w 5252910"/>
                <a:gd name="connsiteY4" fmla="*/ 24257 h 24257"/>
                <a:gd name="connsiteX5" fmla="*/ 4444746 w 5252910"/>
                <a:gd name="connsiteY5" fmla="*/ 24257 h 24257"/>
                <a:gd name="connsiteX6" fmla="*/ 4040696 w 5252910"/>
                <a:gd name="connsiteY6" fmla="*/ 24257 h 24257"/>
                <a:gd name="connsiteX7" fmla="*/ 4040696 w 5252910"/>
                <a:gd name="connsiteY7" fmla="*/ 0 h 24257"/>
                <a:gd name="connsiteX8" fmla="*/ 4444746 w 5252910"/>
                <a:gd name="connsiteY8" fmla="*/ 0 h 24257"/>
                <a:gd name="connsiteX9" fmla="*/ 4444746 w 5252910"/>
                <a:gd name="connsiteY9" fmla="*/ 24257 h 24257"/>
                <a:gd name="connsiteX10" fmla="*/ 3636645 w 5252910"/>
                <a:gd name="connsiteY10" fmla="*/ 24257 h 24257"/>
                <a:gd name="connsiteX11" fmla="*/ 3232594 w 5252910"/>
                <a:gd name="connsiteY11" fmla="*/ 24257 h 24257"/>
                <a:gd name="connsiteX12" fmla="*/ 3232594 w 5252910"/>
                <a:gd name="connsiteY12" fmla="*/ 0 h 24257"/>
                <a:gd name="connsiteX13" fmla="*/ 3636645 w 5252910"/>
                <a:gd name="connsiteY13" fmla="*/ 0 h 24257"/>
                <a:gd name="connsiteX14" fmla="*/ 3636645 w 5252910"/>
                <a:gd name="connsiteY14" fmla="*/ 24257 h 24257"/>
                <a:gd name="connsiteX15" fmla="*/ 2828481 w 5252910"/>
                <a:gd name="connsiteY15" fmla="*/ 24257 h 24257"/>
                <a:gd name="connsiteX16" fmla="*/ 2424430 w 5252910"/>
                <a:gd name="connsiteY16" fmla="*/ 24257 h 24257"/>
                <a:gd name="connsiteX17" fmla="*/ 2424430 w 5252910"/>
                <a:gd name="connsiteY17" fmla="*/ 0 h 24257"/>
                <a:gd name="connsiteX18" fmla="*/ 2828481 w 5252910"/>
                <a:gd name="connsiteY18" fmla="*/ 0 h 24257"/>
                <a:gd name="connsiteX19" fmla="*/ 2828481 w 5252910"/>
                <a:gd name="connsiteY19" fmla="*/ 24257 h 24257"/>
                <a:gd name="connsiteX20" fmla="*/ 2020316 w 5252910"/>
                <a:gd name="connsiteY20" fmla="*/ 24257 h 24257"/>
                <a:gd name="connsiteX21" fmla="*/ 1616266 w 5252910"/>
                <a:gd name="connsiteY21" fmla="*/ 24257 h 24257"/>
                <a:gd name="connsiteX22" fmla="*/ 1616266 w 5252910"/>
                <a:gd name="connsiteY22" fmla="*/ 0 h 24257"/>
                <a:gd name="connsiteX23" fmla="*/ 2020316 w 5252910"/>
                <a:gd name="connsiteY23" fmla="*/ 0 h 24257"/>
                <a:gd name="connsiteX24" fmla="*/ 2020316 w 5252910"/>
                <a:gd name="connsiteY24" fmla="*/ 24257 h 24257"/>
                <a:gd name="connsiteX25" fmla="*/ 1212215 w 5252910"/>
                <a:gd name="connsiteY25" fmla="*/ 24257 h 24257"/>
                <a:gd name="connsiteX26" fmla="*/ 808164 w 5252910"/>
                <a:gd name="connsiteY26" fmla="*/ 24257 h 24257"/>
                <a:gd name="connsiteX27" fmla="*/ 808164 w 5252910"/>
                <a:gd name="connsiteY27" fmla="*/ 0 h 24257"/>
                <a:gd name="connsiteX28" fmla="*/ 1212215 w 5252910"/>
                <a:gd name="connsiteY28" fmla="*/ 0 h 24257"/>
                <a:gd name="connsiteX29" fmla="*/ 1212215 w 5252910"/>
                <a:gd name="connsiteY29" fmla="*/ 24257 h 24257"/>
                <a:gd name="connsiteX30" fmla="*/ 404051 w 5252910"/>
                <a:gd name="connsiteY30" fmla="*/ 24257 h 24257"/>
                <a:gd name="connsiteX31" fmla="*/ 0 w 5252910"/>
                <a:gd name="connsiteY31" fmla="*/ 24257 h 24257"/>
                <a:gd name="connsiteX32" fmla="*/ 0 w 5252910"/>
                <a:gd name="connsiteY32" fmla="*/ 0 h 24257"/>
                <a:gd name="connsiteX33" fmla="*/ 404051 w 5252910"/>
                <a:gd name="connsiteY33" fmla="*/ 0 h 24257"/>
                <a:gd name="connsiteX34" fmla="*/ 404051 w 5252910"/>
                <a:gd name="connsiteY34" fmla="*/ 24257 h 24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252910" h="24257">
                  <a:moveTo>
                    <a:pt x="5252910" y="24257"/>
                  </a:moveTo>
                  <a:lnTo>
                    <a:pt x="4848860" y="24257"/>
                  </a:lnTo>
                  <a:lnTo>
                    <a:pt x="4848860" y="0"/>
                  </a:lnTo>
                  <a:lnTo>
                    <a:pt x="5252910" y="0"/>
                  </a:lnTo>
                  <a:lnTo>
                    <a:pt x="5252910" y="24257"/>
                  </a:lnTo>
                  <a:close/>
                  <a:moveTo>
                    <a:pt x="4444746" y="24257"/>
                  </a:moveTo>
                  <a:lnTo>
                    <a:pt x="4040696" y="24257"/>
                  </a:lnTo>
                  <a:lnTo>
                    <a:pt x="4040696" y="0"/>
                  </a:lnTo>
                  <a:lnTo>
                    <a:pt x="4444746" y="0"/>
                  </a:lnTo>
                  <a:lnTo>
                    <a:pt x="4444746" y="24257"/>
                  </a:lnTo>
                  <a:close/>
                  <a:moveTo>
                    <a:pt x="3636645" y="24257"/>
                  </a:moveTo>
                  <a:lnTo>
                    <a:pt x="3232594" y="24257"/>
                  </a:lnTo>
                  <a:lnTo>
                    <a:pt x="3232594" y="0"/>
                  </a:lnTo>
                  <a:lnTo>
                    <a:pt x="3636645" y="0"/>
                  </a:lnTo>
                  <a:lnTo>
                    <a:pt x="3636645" y="24257"/>
                  </a:lnTo>
                  <a:close/>
                  <a:moveTo>
                    <a:pt x="2828481" y="24257"/>
                  </a:moveTo>
                  <a:lnTo>
                    <a:pt x="2424430" y="24257"/>
                  </a:lnTo>
                  <a:lnTo>
                    <a:pt x="2424430" y="0"/>
                  </a:lnTo>
                  <a:lnTo>
                    <a:pt x="2828481" y="0"/>
                  </a:lnTo>
                  <a:lnTo>
                    <a:pt x="2828481" y="24257"/>
                  </a:lnTo>
                  <a:close/>
                  <a:moveTo>
                    <a:pt x="2020316" y="24257"/>
                  </a:moveTo>
                  <a:lnTo>
                    <a:pt x="1616266" y="24257"/>
                  </a:lnTo>
                  <a:lnTo>
                    <a:pt x="1616266" y="0"/>
                  </a:lnTo>
                  <a:lnTo>
                    <a:pt x="2020316" y="0"/>
                  </a:lnTo>
                  <a:lnTo>
                    <a:pt x="2020316" y="24257"/>
                  </a:lnTo>
                  <a:close/>
                  <a:moveTo>
                    <a:pt x="1212215" y="24257"/>
                  </a:moveTo>
                  <a:lnTo>
                    <a:pt x="808164" y="24257"/>
                  </a:lnTo>
                  <a:lnTo>
                    <a:pt x="808164" y="0"/>
                  </a:lnTo>
                  <a:lnTo>
                    <a:pt x="1212215" y="0"/>
                  </a:lnTo>
                  <a:lnTo>
                    <a:pt x="1212215" y="24257"/>
                  </a:lnTo>
                  <a:close/>
                  <a:moveTo>
                    <a:pt x="404051" y="24257"/>
                  </a:moveTo>
                  <a:lnTo>
                    <a:pt x="0" y="24257"/>
                  </a:lnTo>
                  <a:lnTo>
                    <a:pt x="0" y="0"/>
                  </a:lnTo>
                  <a:lnTo>
                    <a:pt x="404051" y="0"/>
                  </a:lnTo>
                  <a:lnTo>
                    <a:pt x="404051" y="24257"/>
                  </a:lnTo>
                  <a:close/>
                </a:path>
              </a:pathLst>
            </a:custGeom>
            <a:solidFill>
              <a:srgbClr val="6FBE4A"/>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nvGrpSpPr>
            <p:cNvPr id="17" name="Graphic 42">
              <a:extLst>
                <a:ext uri="{FF2B5EF4-FFF2-40B4-BE49-F238E27FC236}">
                  <a16:creationId xmlns:a16="http://schemas.microsoft.com/office/drawing/2014/main" id="{4462BEFA-F6BE-408A-8CBD-DDC5B03EF6CF}"/>
                </a:ext>
              </a:extLst>
            </p:cNvPr>
            <p:cNvGrpSpPr/>
            <p:nvPr userDrawn="1"/>
          </p:nvGrpSpPr>
          <p:grpSpPr>
            <a:xfrm>
              <a:off x="5040122" y="1453579"/>
              <a:ext cx="4312158" cy="55752"/>
              <a:chOff x="1962277" y="6465887"/>
              <a:chExt cx="4312158" cy="55752"/>
            </a:xfrm>
            <a:solidFill>
              <a:srgbClr val="B3B3B3"/>
            </a:solidFill>
          </p:grpSpPr>
          <p:grpSp>
            <p:nvGrpSpPr>
              <p:cNvPr id="18" name="Graphic 42">
                <a:extLst>
                  <a:ext uri="{FF2B5EF4-FFF2-40B4-BE49-F238E27FC236}">
                    <a16:creationId xmlns:a16="http://schemas.microsoft.com/office/drawing/2014/main" id="{6C414D36-83CA-494E-90F0-B5BB4912F8F4}"/>
                  </a:ext>
                </a:extLst>
              </p:cNvPr>
              <p:cNvGrpSpPr/>
              <p:nvPr/>
            </p:nvGrpSpPr>
            <p:grpSpPr>
              <a:xfrm>
                <a:off x="1962277" y="6465887"/>
                <a:ext cx="275081" cy="55752"/>
                <a:chOff x="1962277" y="6465887"/>
                <a:chExt cx="275081" cy="55752"/>
              </a:xfrm>
              <a:solidFill>
                <a:srgbClr val="B3B3B3"/>
              </a:solidFill>
            </p:grpSpPr>
            <p:sp>
              <p:nvSpPr>
                <p:cNvPr id="44" name="Freeform: Shape 43">
                  <a:extLst>
                    <a:ext uri="{FF2B5EF4-FFF2-40B4-BE49-F238E27FC236}">
                      <a16:creationId xmlns:a16="http://schemas.microsoft.com/office/drawing/2014/main" id="{F12D98FB-8347-49AC-981B-0836C07DF466}"/>
                    </a:ext>
                  </a:extLst>
                </p:cNvPr>
                <p:cNvSpPr/>
                <p:nvPr/>
              </p:nvSpPr>
              <p:spPr>
                <a:xfrm>
                  <a:off x="2229294" y="6465887"/>
                  <a:ext cx="8064" cy="55752"/>
                </a:xfrm>
                <a:custGeom>
                  <a:avLst/>
                  <a:gdLst>
                    <a:gd name="connsiteX0" fmla="*/ 0 w 8064"/>
                    <a:gd name="connsiteY0" fmla="*/ 0 h 55752"/>
                    <a:gd name="connsiteX1" fmla="*/ 8064 w 8064"/>
                    <a:gd name="connsiteY1" fmla="*/ 0 h 55752"/>
                    <a:gd name="connsiteX2" fmla="*/ 8064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4" y="0"/>
                      </a:lnTo>
                      <a:lnTo>
                        <a:pt x="8064"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5" name="Freeform: Shape 44">
                  <a:extLst>
                    <a:ext uri="{FF2B5EF4-FFF2-40B4-BE49-F238E27FC236}">
                      <a16:creationId xmlns:a16="http://schemas.microsoft.com/office/drawing/2014/main" id="{25515A06-384F-4412-B81B-CC4CC0CA36F9}"/>
                    </a:ext>
                  </a:extLst>
                </p:cNvPr>
                <p:cNvSpPr/>
                <p:nvPr/>
              </p:nvSpPr>
              <p:spPr>
                <a:xfrm>
                  <a:off x="2133092" y="6465887"/>
                  <a:ext cx="8064" cy="55752"/>
                </a:xfrm>
                <a:custGeom>
                  <a:avLst/>
                  <a:gdLst>
                    <a:gd name="connsiteX0" fmla="*/ 0 w 8064"/>
                    <a:gd name="connsiteY0" fmla="*/ 0 h 55752"/>
                    <a:gd name="connsiteX1" fmla="*/ 8065 w 8064"/>
                    <a:gd name="connsiteY1" fmla="*/ 0 h 55752"/>
                    <a:gd name="connsiteX2" fmla="*/ 8065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5" y="0"/>
                      </a:lnTo>
                      <a:lnTo>
                        <a:pt x="8065"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6" name="Freeform: Shape 45">
                  <a:extLst>
                    <a:ext uri="{FF2B5EF4-FFF2-40B4-BE49-F238E27FC236}">
                      <a16:creationId xmlns:a16="http://schemas.microsoft.com/office/drawing/2014/main" id="{FD3D9B1C-CA80-4F23-B321-AF615A9E00C6}"/>
                    </a:ext>
                  </a:extLst>
                </p:cNvPr>
                <p:cNvSpPr/>
                <p:nvPr/>
              </p:nvSpPr>
              <p:spPr>
                <a:xfrm>
                  <a:off x="2049526" y="6465887"/>
                  <a:ext cx="8064" cy="55752"/>
                </a:xfrm>
                <a:custGeom>
                  <a:avLst/>
                  <a:gdLst>
                    <a:gd name="connsiteX0" fmla="*/ 0 w 8064"/>
                    <a:gd name="connsiteY0" fmla="*/ 0 h 55752"/>
                    <a:gd name="connsiteX1" fmla="*/ 8064 w 8064"/>
                    <a:gd name="connsiteY1" fmla="*/ 0 h 55752"/>
                    <a:gd name="connsiteX2" fmla="*/ 8064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4" y="0"/>
                      </a:lnTo>
                      <a:lnTo>
                        <a:pt x="8064"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7" name="Freeform: Shape 46">
                  <a:extLst>
                    <a:ext uri="{FF2B5EF4-FFF2-40B4-BE49-F238E27FC236}">
                      <a16:creationId xmlns:a16="http://schemas.microsoft.com/office/drawing/2014/main" id="{A61D8D8A-1848-4FF2-A8B9-EAA9E4FA6C9A}"/>
                    </a:ext>
                  </a:extLst>
                </p:cNvPr>
                <p:cNvSpPr/>
                <p:nvPr/>
              </p:nvSpPr>
              <p:spPr>
                <a:xfrm>
                  <a:off x="1962277" y="6465887"/>
                  <a:ext cx="8064" cy="55752"/>
                </a:xfrm>
                <a:custGeom>
                  <a:avLst/>
                  <a:gdLst>
                    <a:gd name="connsiteX0" fmla="*/ 0 w 8064"/>
                    <a:gd name="connsiteY0" fmla="*/ 0 h 55752"/>
                    <a:gd name="connsiteX1" fmla="*/ 8064 w 8064"/>
                    <a:gd name="connsiteY1" fmla="*/ 0 h 55752"/>
                    <a:gd name="connsiteX2" fmla="*/ 8064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4" y="0"/>
                      </a:lnTo>
                      <a:lnTo>
                        <a:pt x="8064"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nvGrpSpPr>
              <p:cNvPr id="19" name="Graphic 42">
                <a:extLst>
                  <a:ext uri="{FF2B5EF4-FFF2-40B4-BE49-F238E27FC236}">
                    <a16:creationId xmlns:a16="http://schemas.microsoft.com/office/drawing/2014/main" id="{C8188640-B60E-4D12-8195-2CC09242B9F0}"/>
                  </a:ext>
                </a:extLst>
              </p:cNvPr>
              <p:cNvGrpSpPr/>
              <p:nvPr/>
            </p:nvGrpSpPr>
            <p:grpSpPr>
              <a:xfrm>
                <a:off x="2767584" y="6465887"/>
                <a:ext cx="275081" cy="55752"/>
                <a:chOff x="2767584" y="6465887"/>
                <a:chExt cx="275081" cy="55752"/>
              </a:xfrm>
              <a:solidFill>
                <a:srgbClr val="B3B3B3"/>
              </a:solidFill>
            </p:grpSpPr>
            <p:sp>
              <p:nvSpPr>
                <p:cNvPr id="40" name="Freeform: Shape 39">
                  <a:extLst>
                    <a:ext uri="{FF2B5EF4-FFF2-40B4-BE49-F238E27FC236}">
                      <a16:creationId xmlns:a16="http://schemas.microsoft.com/office/drawing/2014/main" id="{3AED701D-F446-4BF2-B9AB-AD1DE14D2221}"/>
                    </a:ext>
                  </a:extLst>
                </p:cNvPr>
                <p:cNvSpPr/>
                <p:nvPr/>
              </p:nvSpPr>
              <p:spPr>
                <a:xfrm>
                  <a:off x="3034601" y="6465887"/>
                  <a:ext cx="8064" cy="55752"/>
                </a:xfrm>
                <a:custGeom>
                  <a:avLst/>
                  <a:gdLst>
                    <a:gd name="connsiteX0" fmla="*/ 0 w 8064"/>
                    <a:gd name="connsiteY0" fmla="*/ 0 h 55752"/>
                    <a:gd name="connsiteX1" fmla="*/ 8065 w 8064"/>
                    <a:gd name="connsiteY1" fmla="*/ 0 h 55752"/>
                    <a:gd name="connsiteX2" fmla="*/ 8065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5" y="0"/>
                      </a:lnTo>
                      <a:lnTo>
                        <a:pt x="8065"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1" name="Freeform: Shape 40">
                  <a:extLst>
                    <a:ext uri="{FF2B5EF4-FFF2-40B4-BE49-F238E27FC236}">
                      <a16:creationId xmlns:a16="http://schemas.microsoft.com/office/drawing/2014/main" id="{B786866A-0184-4A50-A38D-04AD7C97E460}"/>
                    </a:ext>
                  </a:extLst>
                </p:cNvPr>
                <p:cNvSpPr/>
                <p:nvPr/>
              </p:nvSpPr>
              <p:spPr>
                <a:xfrm>
                  <a:off x="2938399" y="6465887"/>
                  <a:ext cx="8064" cy="55752"/>
                </a:xfrm>
                <a:custGeom>
                  <a:avLst/>
                  <a:gdLst>
                    <a:gd name="connsiteX0" fmla="*/ 0 w 8064"/>
                    <a:gd name="connsiteY0" fmla="*/ 0 h 55752"/>
                    <a:gd name="connsiteX1" fmla="*/ 8064 w 8064"/>
                    <a:gd name="connsiteY1" fmla="*/ 0 h 55752"/>
                    <a:gd name="connsiteX2" fmla="*/ 8064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4" y="0"/>
                      </a:lnTo>
                      <a:lnTo>
                        <a:pt x="8064"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2" name="Freeform: Shape 41">
                  <a:extLst>
                    <a:ext uri="{FF2B5EF4-FFF2-40B4-BE49-F238E27FC236}">
                      <a16:creationId xmlns:a16="http://schemas.microsoft.com/office/drawing/2014/main" id="{22873B01-F29B-447F-8CA9-90773F021047}"/>
                    </a:ext>
                  </a:extLst>
                </p:cNvPr>
                <p:cNvSpPr/>
                <p:nvPr/>
              </p:nvSpPr>
              <p:spPr>
                <a:xfrm>
                  <a:off x="2854833" y="6465887"/>
                  <a:ext cx="8064" cy="55752"/>
                </a:xfrm>
                <a:custGeom>
                  <a:avLst/>
                  <a:gdLst>
                    <a:gd name="connsiteX0" fmla="*/ 0 w 8064"/>
                    <a:gd name="connsiteY0" fmla="*/ 0 h 55752"/>
                    <a:gd name="connsiteX1" fmla="*/ 8064 w 8064"/>
                    <a:gd name="connsiteY1" fmla="*/ 0 h 55752"/>
                    <a:gd name="connsiteX2" fmla="*/ 8064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4" y="0"/>
                      </a:lnTo>
                      <a:lnTo>
                        <a:pt x="8064"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3" name="Freeform: Shape 42">
                  <a:extLst>
                    <a:ext uri="{FF2B5EF4-FFF2-40B4-BE49-F238E27FC236}">
                      <a16:creationId xmlns:a16="http://schemas.microsoft.com/office/drawing/2014/main" id="{39C3C78D-917D-49A6-9DA1-0AAD733B0081}"/>
                    </a:ext>
                  </a:extLst>
                </p:cNvPr>
                <p:cNvSpPr/>
                <p:nvPr/>
              </p:nvSpPr>
              <p:spPr>
                <a:xfrm>
                  <a:off x="2767584" y="6465887"/>
                  <a:ext cx="8064" cy="55752"/>
                </a:xfrm>
                <a:custGeom>
                  <a:avLst/>
                  <a:gdLst>
                    <a:gd name="connsiteX0" fmla="*/ 0 w 8064"/>
                    <a:gd name="connsiteY0" fmla="*/ 0 h 55752"/>
                    <a:gd name="connsiteX1" fmla="*/ 8064 w 8064"/>
                    <a:gd name="connsiteY1" fmla="*/ 0 h 55752"/>
                    <a:gd name="connsiteX2" fmla="*/ 8064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4" y="0"/>
                      </a:lnTo>
                      <a:lnTo>
                        <a:pt x="8064"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nvGrpSpPr>
              <p:cNvPr id="20" name="Graphic 42">
                <a:extLst>
                  <a:ext uri="{FF2B5EF4-FFF2-40B4-BE49-F238E27FC236}">
                    <a16:creationId xmlns:a16="http://schemas.microsoft.com/office/drawing/2014/main" id="{0B318879-5799-428C-8F50-C87E1AAE34F9}"/>
                  </a:ext>
                </a:extLst>
              </p:cNvPr>
              <p:cNvGrpSpPr/>
              <p:nvPr/>
            </p:nvGrpSpPr>
            <p:grpSpPr>
              <a:xfrm>
                <a:off x="3592067" y="6465887"/>
                <a:ext cx="275082" cy="55752"/>
                <a:chOff x="3592067" y="6465887"/>
                <a:chExt cx="275082" cy="55752"/>
              </a:xfrm>
              <a:solidFill>
                <a:srgbClr val="B3B3B3"/>
              </a:solidFill>
            </p:grpSpPr>
            <p:sp>
              <p:nvSpPr>
                <p:cNvPr id="36" name="Freeform: Shape 35">
                  <a:extLst>
                    <a:ext uri="{FF2B5EF4-FFF2-40B4-BE49-F238E27FC236}">
                      <a16:creationId xmlns:a16="http://schemas.microsoft.com/office/drawing/2014/main" id="{12315CF7-1D26-45D3-8980-950C19FCA779}"/>
                    </a:ext>
                  </a:extLst>
                </p:cNvPr>
                <p:cNvSpPr/>
                <p:nvPr/>
              </p:nvSpPr>
              <p:spPr>
                <a:xfrm>
                  <a:off x="3859085" y="6465887"/>
                  <a:ext cx="8064" cy="55752"/>
                </a:xfrm>
                <a:custGeom>
                  <a:avLst/>
                  <a:gdLst>
                    <a:gd name="connsiteX0" fmla="*/ 0 w 8064"/>
                    <a:gd name="connsiteY0" fmla="*/ 0 h 55752"/>
                    <a:gd name="connsiteX1" fmla="*/ 8065 w 8064"/>
                    <a:gd name="connsiteY1" fmla="*/ 0 h 55752"/>
                    <a:gd name="connsiteX2" fmla="*/ 8065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5" y="0"/>
                      </a:lnTo>
                      <a:lnTo>
                        <a:pt x="8065"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7" name="Freeform: Shape 36">
                  <a:extLst>
                    <a:ext uri="{FF2B5EF4-FFF2-40B4-BE49-F238E27FC236}">
                      <a16:creationId xmlns:a16="http://schemas.microsoft.com/office/drawing/2014/main" id="{75582EA7-D6B9-4B06-81FC-45EFF0D7FA1D}"/>
                    </a:ext>
                  </a:extLst>
                </p:cNvPr>
                <p:cNvSpPr/>
                <p:nvPr/>
              </p:nvSpPr>
              <p:spPr>
                <a:xfrm>
                  <a:off x="3762883" y="6465887"/>
                  <a:ext cx="8064" cy="55752"/>
                </a:xfrm>
                <a:custGeom>
                  <a:avLst/>
                  <a:gdLst>
                    <a:gd name="connsiteX0" fmla="*/ 0 w 8064"/>
                    <a:gd name="connsiteY0" fmla="*/ 0 h 55752"/>
                    <a:gd name="connsiteX1" fmla="*/ 8065 w 8064"/>
                    <a:gd name="connsiteY1" fmla="*/ 0 h 55752"/>
                    <a:gd name="connsiteX2" fmla="*/ 8065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5" y="0"/>
                      </a:lnTo>
                      <a:lnTo>
                        <a:pt x="8065"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8" name="Freeform: Shape 37">
                  <a:extLst>
                    <a:ext uri="{FF2B5EF4-FFF2-40B4-BE49-F238E27FC236}">
                      <a16:creationId xmlns:a16="http://schemas.microsoft.com/office/drawing/2014/main" id="{4B32FF40-DA0D-43AF-9E1F-7F90B039619E}"/>
                    </a:ext>
                  </a:extLst>
                </p:cNvPr>
                <p:cNvSpPr/>
                <p:nvPr/>
              </p:nvSpPr>
              <p:spPr>
                <a:xfrm>
                  <a:off x="3679316" y="6465887"/>
                  <a:ext cx="8064" cy="55752"/>
                </a:xfrm>
                <a:custGeom>
                  <a:avLst/>
                  <a:gdLst>
                    <a:gd name="connsiteX0" fmla="*/ 0 w 8064"/>
                    <a:gd name="connsiteY0" fmla="*/ 0 h 55752"/>
                    <a:gd name="connsiteX1" fmla="*/ 8065 w 8064"/>
                    <a:gd name="connsiteY1" fmla="*/ 0 h 55752"/>
                    <a:gd name="connsiteX2" fmla="*/ 8065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5" y="0"/>
                      </a:lnTo>
                      <a:lnTo>
                        <a:pt x="8065"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9" name="Freeform: Shape 38">
                  <a:extLst>
                    <a:ext uri="{FF2B5EF4-FFF2-40B4-BE49-F238E27FC236}">
                      <a16:creationId xmlns:a16="http://schemas.microsoft.com/office/drawing/2014/main" id="{65F385E7-62A0-4424-AA68-EC3AC5D492B0}"/>
                    </a:ext>
                  </a:extLst>
                </p:cNvPr>
                <p:cNvSpPr/>
                <p:nvPr/>
              </p:nvSpPr>
              <p:spPr>
                <a:xfrm>
                  <a:off x="3592067" y="6465887"/>
                  <a:ext cx="8064" cy="55752"/>
                </a:xfrm>
                <a:custGeom>
                  <a:avLst/>
                  <a:gdLst>
                    <a:gd name="connsiteX0" fmla="*/ 0 w 8064"/>
                    <a:gd name="connsiteY0" fmla="*/ 0 h 55752"/>
                    <a:gd name="connsiteX1" fmla="*/ 8065 w 8064"/>
                    <a:gd name="connsiteY1" fmla="*/ 0 h 55752"/>
                    <a:gd name="connsiteX2" fmla="*/ 8065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5" y="0"/>
                      </a:lnTo>
                      <a:lnTo>
                        <a:pt x="8065"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nvGrpSpPr>
              <p:cNvPr id="21" name="Graphic 42">
                <a:extLst>
                  <a:ext uri="{FF2B5EF4-FFF2-40B4-BE49-F238E27FC236}">
                    <a16:creationId xmlns:a16="http://schemas.microsoft.com/office/drawing/2014/main" id="{3423C752-5534-4E66-A865-C988809C1E01}"/>
                  </a:ext>
                </a:extLst>
              </p:cNvPr>
              <p:cNvGrpSpPr/>
              <p:nvPr/>
            </p:nvGrpSpPr>
            <p:grpSpPr>
              <a:xfrm>
                <a:off x="4397375" y="6465887"/>
                <a:ext cx="275081" cy="55752"/>
                <a:chOff x="4397375" y="6465887"/>
                <a:chExt cx="275081" cy="55752"/>
              </a:xfrm>
              <a:solidFill>
                <a:srgbClr val="B3B3B3"/>
              </a:solidFill>
            </p:grpSpPr>
            <p:sp>
              <p:nvSpPr>
                <p:cNvPr id="32" name="Freeform: Shape 31">
                  <a:extLst>
                    <a:ext uri="{FF2B5EF4-FFF2-40B4-BE49-F238E27FC236}">
                      <a16:creationId xmlns:a16="http://schemas.microsoft.com/office/drawing/2014/main" id="{F6ADF341-7B9D-4DD8-9CA6-565A61A1D9F0}"/>
                    </a:ext>
                  </a:extLst>
                </p:cNvPr>
                <p:cNvSpPr/>
                <p:nvPr/>
              </p:nvSpPr>
              <p:spPr>
                <a:xfrm>
                  <a:off x="4664392" y="6465887"/>
                  <a:ext cx="8064" cy="55752"/>
                </a:xfrm>
                <a:custGeom>
                  <a:avLst/>
                  <a:gdLst>
                    <a:gd name="connsiteX0" fmla="*/ 0 w 8064"/>
                    <a:gd name="connsiteY0" fmla="*/ 0 h 55752"/>
                    <a:gd name="connsiteX1" fmla="*/ 8065 w 8064"/>
                    <a:gd name="connsiteY1" fmla="*/ 0 h 55752"/>
                    <a:gd name="connsiteX2" fmla="*/ 8065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5" y="0"/>
                      </a:lnTo>
                      <a:lnTo>
                        <a:pt x="8065"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3" name="Freeform: Shape 32">
                  <a:extLst>
                    <a:ext uri="{FF2B5EF4-FFF2-40B4-BE49-F238E27FC236}">
                      <a16:creationId xmlns:a16="http://schemas.microsoft.com/office/drawing/2014/main" id="{3583D26D-856C-4A77-AE0D-3BA42CE1E584}"/>
                    </a:ext>
                  </a:extLst>
                </p:cNvPr>
                <p:cNvSpPr/>
                <p:nvPr/>
              </p:nvSpPr>
              <p:spPr>
                <a:xfrm>
                  <a:off x="4568190" y="6465887"/>
                  <a:ext cx="8064" cy="55752"/>
                </a:xfrm>
                <a:custGeom>
                  <a:avLst/>
                  <a:gdLst>
                    <a:gd name="connsiteX0" fmla="*/ 0 w 8064"/>
                    <a:gd name="connsiteY0" fmla="*/ 0 h 55752"/>
                    <a:gd name="connsiteX1" fmla="*/ 8065 w 8064"/>
                    <a:gd name="connsiteY1" fmla="*/ 0 h 55752"/>
                    <a:gd name="connsiteX2" fmla="*/ 8065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5" y="0"/>
                      </a:lnTo>
                      <a:lnTo>
                        <a:pt x="8065"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4" name="Freeform: Shape 33">
                  <a:extLst>
                    <a:ext uri="{FF2B5EF4-FFF2-40B4-BE49-F238E27FC236}">
                      <a16:creationId xmlns:a16="http://schemas.microsoft.com/office/drawing/2014/main" id="{3AEFB025-6C70-433A-A300-828C72698CA9}"/>
                    </a:ext>
                  </a:extLst>
                </p:cNvPr>
                <p:cNvSpPr/>
                <p:nvPr/>
              </p:nvSpPr>
              <p:spPr>
                <a:xfrm>
                  <a:off x="4484624" y="6465887"/>
                  <a:ext cx="8064" cy="55752"/>
                </a:xfrm>
                <a:custGeom>
                  <a:avLst/>
                  <a:gdLst>
                    <a:gd name="connsiteX0" fmla="*/ 0 w 8064"/>
                    <a:gd name="connsiteY0" fmla="*/ 0 h 55752"/>
                    <a:gd name="connsiteX1" fmla="*/ 8065 w 8064"/>
                    <a:gd name="connsiteY1" fmla="*/ 0 h 55752"/>
                    <a:gd name="connsiteX2" fmla="*/ 8065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5" y="0"/>
                      </a:lnTo>
                      <a:lnTo>
                        <a:pt x="8065"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5" name="Freeform: Shape 34">
                  <a:extLst>
                    <a:ext uri="{FF2B5EF4-FFF2-40B4-BE49-F238E27FC236}">
                      <a16:creationId xmlns:a16="http://schemas.microsoft.com/office/drawing/2014/main" id="{B1D62E97-9E08-4764-8431-00935A47F3A0}"/>
                    </a:ext>
                  </a:extLst>
                </p:cNvPr>
                <p:cNvSpPr/>
                <p:nvPr/>
              </p:nvSpPr>
              <p:spPr>
                <a:xfrm>
                  <a:off x="4397375" y="6465887"/>
                  <a:ext cx="8064" cy="55752"/>
                </a:xfrm>
                <a:custGeom>
                  <a:avLst/>
                  <a:gdLst>
                    <a:gd name="connsiteX0" fmla="*/ 0 w 8064"/>
                    <a:gd name="connsiteY0" fmla="*/ 0 h 55752"/>
                    <a:gd name="connsiteX1" fmla="*/ 8065 w 8064"/>
                    <a:gd name="connsiteY1" fmla="*/ 0 h 55752"/>
                    <a:gd name="connsiteX2" fmla="*/ 8065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5" y="0"/>
                      </a:lnTo>
                      <a:lnTo>
                        <a:pt x="8065"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nvGrpSpPr>
              <p:cNvPr id="22" name="Graphic 42">
                <a:extLst>
                  <a:ext uri="{FF2B5EF4-FFF2-40B4-BE49-F238E27FC236}">
                    <a16:creationId xmlns:a16="http://schemas.microsoft.com/office/drawing/2014/main" id="{B5A71B70-4F7E-4F2D-B1E9-AA29844C693D}"/>
                  </a:ext>
                </a:extLst>
              </p:cNvPr>
              <p:cNvGrpSpPr/>
              <p:nvPr/>
            </p:nvGrpSpPr>
            <p:grpSpPr>
              <a:xfrm>
                <a:off x="5193982" y="6465887"/>
                <a:ext cx="275081" cy="55752"/>
                <a:chOff x="5193982" y="6465887"/>
                <a:chExt cx="275081" cy="55752"/>
              </a:xfrm>
              <a:solidFill>
                <a:srgbClr val="B3B3B3"/>
              </a:solidFill>
            </p:grpSpPr>
            <p:sp>
              <p:nvSpPr>
                <p:cNvPr id="28" name="Freeform: Shape 27">
                  <a:extLst>
                    <a:ext uri="{FF2B5EF4-FFF2-40B4-BE49-F238E27FC236}">
                      <a16:creationId xmlns:a16="http://schemas.microsoft.com/office/drawing/2014/main" id="{5C4D2D9B-3546-4854-9EF0-91DA8B5D343A}"/>
                    </a:ext>
                  </a:extLst>
                </p:cNvPr>
                <p:cNvSpPr/>
                <p:nvPr/>
              </p:nvSpPr>
              <p:spPr>
                <a:xfrm>
                  <a:off x="5461000" y="6465887"/>
                  <a:ext cx="8064" cy="55752"/>
                </a:xfrm>
                <a:custGeom>
                  <a:avLst/>
                  <a:gdLst>
                    <a:gd name="connsiteX0" fmla="*/ 0 w 8064"/>
                    <a:gd name="connsiteY0" fmla="*/ 0 h 55752"/>
                    <a:gd name="connsiteX1" fmla="*/ 8065 w 8064"/>
                    <a:gd name="connsiteY1" fmla="*/ 0 h 55752"/>
                    <a:gd name="connsiteX2" fmla="*/ 8065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5" y="0"/>
                      </a:lnTo>
                      <a:lnTo>
                        <a:pt x="8065"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9" name="Freeform: Shape 28">
                  <a:extLst>
                    <a:ext uri="{FF2B5EF4-FFF2-40B4-BE49-F238E27FC236}">
                      <a16:creationId xmlns:a16="http://schemas.microsoft.com/office/drawing/2014/main" id="{CACC2168-473F-4DD8-9CCA-AC07604162E4}"/>
                    </a:ext>
                  </a:extLst>
                </p:cNvPr>
                <p:cNvSpPr/>
                <p:nvPr/>
              </p:nvSpPr>
              <p:spPr>
                <a:xfrm>
                  <a:off x="5364861" y="6465887"/>
                  <a:ext cx="8064" cy="55752"/>
                </a:xfrm>
                <a:custGeom>
                  <a:avLst/>
                  <a:gdLst>
                    <a:gd name="connsiteX0" fmla="*/ 0 w 8064"/>
                    <a:gd name="connsiteY0" fmla="*/ 0 h 55752"/>
                    <a:gd name="connsiteX1" fmla="*/ 8065 w 8064"/>
                    <a:gd name="connsiteY1" fmla="*/ 0 h 55752"/>
                    <a:gd name="connsiteX2" fmla="*/ 8065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5" y="0"/>
                      </a:lnTo>
                      <a:lnTo>
                        <a:pt x="8065"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0" name="Freeform: Shape 29">
                  <a:extLst>
                    <a:ext uri="{FF2B5EF4-FFF2-40B4-BE49-F238E27FC236}">
                      <a16:creationId xmlns:a16="http://schemas.microsoft.com/office/drawing/2014/main" id="{C0676C98-9672-4F1C-B76D-533DC9DC61E9}"/>
                    </a:ext>
                  </a:extLst>
                </p:cNvPr>
                <p:cNvSpPr/>
                <p:nvPr/>
              </p:nvSpPr>
              <p:spPr>
                <a:xfrm>
                  <a:off x="5281231" y="6465887"/>
                  <a:ext cx="8064" cy="55752"/>
                </a:xfrm>
                <a:custGeom>
                  <a:avLst/>
                  <a:gdLst>
                    <a:gd name="connsiteX0" fmla="*/ 0 w 8064"/>
                    <a:gd name="connsiteY0" fmla="*/ 0 h 55752"/>
                    <a:gd name="connsiteX1" fmla="*/ 8065 w 8064"/>
                    <a:gd name="connsiteY1" fmla="*/ 0 h 55752"/>
                    <a:gd name="connsiteX2" fmla="*/ 8065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5" y="0"/>
                      </a:lnTo>
                      <a:lnTo>
                        <a:pt x="8065"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1" name="Freeform: Shape 30">
                  <a:extLst>
                    <a:ext uri="{FF2B5EF4-FFF2-40B4-BE49-F238E27FC236}">
                      <a16:creationId xmlns:a16="http://schemas.microsoft.com/office/drawing/2014/main" id="{967CC653-46C7-4F44-8FF4-0AABDEBC12E7}"/>
                    </a:ext>
                  </a:extLst>
                </p:cNvPr>
                <p:cNvSpPr/>
                <p:nvPr/>
              </p:nvSpPr>
              <p:spPr>
                <a:xfrm>
                  <a:off x="5193982" y="6465887"/>
                  <a:ext cx="8064" cy="55752"/>
                </a:xfrm>
                <a:custGeom>
                  <a:avLst/>
                  <a:gdLst>
                    <a:gd name="connsiteX0" fmla="*/ 0 w 8064"/>
                    <a:gd name="connsiteY0" fmla="*/ 0 h 55752"/>
                    <a:gd name="connsiteX1" fmla="*/ 8065 w 8064"/>
                    <a:gd name="connsiteY1" fmla="*/ 0 h 55752"/>
                    <a:gd name="connsiteX2" fmla="*/ 8065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5" y="0"/>
                      </a:lnTo>
                      <a:lnTo>
                        <a:pt x="8065"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nvGrpSpPr>
              <p:cNvPr id="23" name="Graphic 42">
                <a:extLst>
                  <a:ext uri="{FF2B5EF4-FFF2-40B4-BE49-F238E27FC236}">
                    <a16:creationId xmlns:a16="http://schemas.microsoft.com/office/drawing/2014/main" id="{2A1F82DF-03D9-444E-8317-8BEACA4F8E1E}"/>
                  </a:ext>
                </a:extLst>
              </p:cNvPr>
              <p:cNvGrpSpPr/>
              <p:nvPr/>
            </p:nvGrpSpPr>
            <p:grpSpPr>
              <a:xfrm>
                <a:off x="5999289" y="6465887"/>
                <a:ext cx="275145" cy="55752"/>
                <a:chOff x="5999289" y="6465887"/>
                <a:chExt cx="275145" cy="55752"/>
              </a:xfrm>
              <a:solidFill>
                <a:srgbClr val="B3B3B3"/>
              </a:solidFill>
            </p:grpSpPr>
            <p:sp>
              <p:nvSpPr>
                <p:cNvPr id="24" name="Freeform: Shape 23">
                  <a:extLst>
                    <a:ext uri="{FF2B5EF4-FFF2-40B4-BE49-F238E27FC236}">
                      <a16:creationId xmlns:a16="http://schemas.microsoft.com/office/drawing/2014/main" id="{491F24D6-8119-44C1-93F2-E5109D171FA2}"/>
                    </a:ext>
                  </a:extLst>
                </p:cNvPr>
                <p:cNvSpPr/>
                <p:nvPr/>
              </p:nvSpPr>
              <p:spPr>
                <a:xfrm>
                  <a:off x="6266370" y="6465887"/>
                  <a:ext cx="8064" cy="55752"/>
                </a:xfrm>
                <a:custGeom>
                  <a:avLst/>
                  <a:gdLst>
                    <a:gd name="connsiteX0" fmla="*/ 0 w 8064"/>
                    <a:gd name="connsiteY0" fmla="*/ 0 h 55752"/>
                    <a:gd name="connsiteX1" fmla="*/ 8065 w 8064"/>
                    <a:gd name="connsiteY1" fmla="*/ 0 h 55752"/>
                    <a:gd name="connsiteX2" fmla="*/ 8065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5" y="0"/>
                      </a:lnTo>
                      <a:lnTo>
                        <a:pt x="8065"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5" name="Freeform: Shape 24">
                  <a:extLst>
                    <a:ext uri="{FF2B5EF4-FFF2-40B4-BE49-F238E27FC236}">
                      <a16:creationId xmlns:a16="http://schemas.microsoft.com/office/drawing/2014/main" id="{C81EC1E3-3540-4BE0-AD5A-51BA24740C03}"/>
                    </a:ext>
                  </a:extLst>
                </p:cNvPr>
                <p:cNvSpPr/>
                <p:nvPr/>
              </p:nvSpPr>
              <p:spPr>
                <a:xfrm>
                  <a:off x="6170168" y="6465887"/>
                  <a:ext cx="8064" cy="55752"/>
                </a:xfrm>
                <a:custGeom>
                  <a:avLst/>
                  <a:gdLst>
                    <a:gd name="connsiteX0" fmla="*/ 0 w 8064"/>
                    <a:gd name="connsiteY0" fmla="*/ 0 h 55752"/>
                    <a:gd name="connsiteX1" fmla="*/ 8065 w 8064"/>
                    <a:gd name="connsiteY1" fmla="*/ 0 h 55752"/>
                    <a:gd name="connsiteX2" fmla="*/ 8065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5" y="0"/>
                      </a:lnTo>
                      <a:lnTo>
                        <a:pt x="8065"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6" name="Freeform: Shape 25">
                  <a:extLst>
                    <a:ext uri="{FF2B5EF4-FFF2-40B4-BE49-F238E27FC236}">
                      <a16:creationId xmlns:a16="http://schemas.microsoft.com/office/drawing/2014/main" id="{E8EFC42F-F751-4EA6-8C7C-816A8DE27840}"/>
                    </a:ext>
                  </a:extLst>
                </p:cNvPr>
                <p:cNvSpPr/>
                <p:nvPr/>
              </p:nvSpPr>
              <p:spPr>
                <a:xfrm>
                  <a:off x="6086538" y="6465887"/>
                  <a:ext cx="8064" cy="55752"/>
                </a:xfrm>
                <a:custGeom>
                  <a:avLst/>
                  <a:gdLst>
                    <a:gd name="connsiteX0" fmla="*/ 0 w 8064"/>
                    <a:gd name="connsiteY0" fmla="*/ 0 h 55752"/>
                    <a:gd name="connsiteX1" fmla="*/ 8065 w 8064"/>
                    <a:gd name="connsiteY1" fmla="*/ 0 h 55752"/>
                    <a:gd name="connsiteX2" fmla="*/ 8065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5" y="0"/>
                      </a:lnTo>
                      <a:lnTo>
                        <a:pt x="8065"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7" name="Freeform: Shape 26">
                  <a:extLst>
                    <a:ext uri="{FF2B5EF4-FFF2-40B4-BE49-F238E27FC236}">
                      <a16:creationId xmlns:a16="http://schemas.microsoft.com/office/drawing/2014/main" id="{27C191A6-C627-4504-AFFA-3E1CD488F910}"/>
                    </a:ext>
                  </a:extLst>
                </p:cNvPr>
                <p:cNvSpPr/>
                <p:nvPr/>
              </p:nvSpPr>
              <p:spPr>
                <a:xfrm>
                  <a:off x="5999289" y="6465887"/>
                  <a:ext cx="8064" cy="55752"/>
                </a:xfrm>
                <a:custGeom>
                  <a:avLst/>
                  <a:gdLst>
                    <a:gd name="connsiteX0" fmla="*/ 0 w 8064"/>
                    <a:gd name="connsiteY0" fmla="*/ 0 h 55752"/>
                    <a:gd name="connsiteX1" fmla="*/ 8065 w 8064"/>
                    <a:gd name="connsiteY1" fmla="*/ 0 h 55752"/>
                    <a:gd name="connsiteX2" fmla="*/ 8065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5" y="0"/>
                      </a:lnTo>
                      <a:lnTo>
                        <a:pt x="8065"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grpSp>
      <p:sp>
        <p:nvSpPr>
          <p:cNvPr id="92" name="Freeform: Shape 91">
            <a:extLst>
              <a:ext uri="{FF2B5EF4-FFF2-40B4-BE49-F238E27FC236}">
                <a16:creationId xmlns:a16="http://schemas.microsoft.com/office/drawing/2014/main" id="{95075E11-C95B-43F7-AE58-F819F4432F94}"/>
              </a:ext>
            </a:extLst>
          </p:cNvPr>
          <p:cNvSpPr/>
          <p:nvPr userDrawn="1"/>
        </p:nvSpPr>
        <p:spPr>
          <a:xfrm>
            <a:off x="4558698" y="6297424"/>
            <a:ext cx="99631" cy="161861"/>
          </a:xfrm>
          <a:custGeom>
            <a:avLst/>
            <a:gdLst>
              <a:gd name="connsiteX0" fmla="*/ 0 w 99631"/>
              <a:gd name="connsiteY0" fmla="*/ 0 h 161861"/>
              <a:gd name="connsiteX1" fmla="*/ 47942 w 99631"/>
              <a:gd name="connsiteY1" fmla="*/ 0 h 161861"/>
              <a:gd name="connsiteX2" fmla="*/ 99631 w 99631"/>
              <a:gd name="connsiteY2" fmla="*/ 80962 h 161861"/>
              <a:gd name="connsiteX3" fmla="*/ 47942 w 99631"/>
              <a:gd name="connsiteY3" fmla="*/ 161862 h 161861"/>
              <a:gd name="connsiteX4" fmla="*/ 0 w 99631"/>
              <a:gd name="connsiteY4" fmla="*/ 161862 h 161861"/>
              <a:gd name="connsiteX5" fmla="*/ 51626 w 99631"/>
              <a:gd name="connsiteY5" fmla="*/ 80962 h 161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631" h="161861">
                <a:moveTo>
                  <a:pt x="0" y="0"/>
                </a:moveTo>
                <a:lnTo>
                  <a:pt x="47942" y="0"/>
                </a:lnTo>
                <a:lnTo>
                  <a:pt x="99631" y="80962"/>
                </a:lnTo>
                <a:lnTo>
                  <a:pt x="47942" y="161862"/>
                </a:lnTo>
                <a:lnTo>
                  <a:pt x="0" y="161862"/>
                </a:lnTo>
                <a:lnTo>
                  <a:pt x="51626" y="80962"/>
                </a:lnTo>
                <a:close/>
              </a:path>
            </a:pathLst>
          </a:custGeom>
          <a:solidFill>
            <a:schemeClr val="bg2">
              <a:alpha val="23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3" name="Freeform: Shape 92">
            <a:extLst>
              <a:ext uri="{FF2B5EF4-FFF2-40B4-BE49-F238E27FC236}">
                <a16:creationId xmlns:a16="http://schemas.microsoft.com/office/drawing/2014/main" id="{E7C06D70-7E3E-4D15-B6B1-EAF35FBF771C}"/>
              </a:ext>
            </a:extLst>
          </p:cNvPr>
          <p:cNvSpPr/>
          <p:nvPr userDrawn="1"/>
        </p:nvSpPr>
        <p:spPr>
          <a:xfrm>
            <a:off x="4628548" y="6297424"/>
            <a:ext cx="99567" cy="161861"/>
          </a:xfrm>
          <a:custGeom>
            <a:avLst/>
            <a:gdLst>
              <a:gd name="connsiteX0" fmla="*/ 0 w 99567"/>
              <a:gd name="connsiteY0" fmla="*/ 0 h 161861"/>
              <a:gd name="connsiteX1" fmla="*/ 47942 w 99567"/>
              <a:gd name="connsiteY1" fmla="*/ 0 h 161861"/>
              <a:gd name="connsiteX2" fmla="*/ 99568 w 99567"/>
              <a:gd name="connsiteY2" fmla="*/ 80962 h 161861"/>
              <a:gd name="connsiteX3" fmla="*/ 47942 w 99567"/>
              <a:gd name="connsiteY3" fmla="*/ 161862 h 161861"/>
              <a:gd name="connsiteX4" fmla="*/ 0 w 99567"/>
              <a:gd name="connsiteY4" fmla="*/ 161862 h 161861"/>
              <a:gd name="connsiteX5" fmla="*/ 51626 w 99567"/>
              <a:gd name="connsiteY5" fmla="*/ 80962 h 161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567" h="161861">
                <a:moveTo>
                  <a:pt x="0" y="0"/>
                </a:moveTo>
                <a:lnTo>
                  <a:pt x="47942" y="0"/>
                </a:lnTo>
                <a:lnTo>
                  <a:pt x="99568" y="80962"/>
                </a:lnTo>
                <a:lnTo>
                  <a:pt x="47942" y="161862"/>
                </a:lnTo>
                <a:lnTo>
                  <a:pt x="0" y="161862"/>
                </a:lnTo>
                <a:lnTo>
                  <a:pt x="51626" y="80962"/>
                </a:lnTo>
                <a:close/>
              </a:path>
            </a:pathLst>
          </a:custGeom>
          <a:solidFill>
            <a:schemeClr val="bg2">
              <a:alpha val="23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4" name="Freeform: Shape 93">
            <a:extLst>
              <a:ext uri="{FF2B5EF4-FFF2-40B4-BE49-F238E27FC236}">
                <a16:creationId xmlns:a16="http://schemas.microsoft.com/office/drawing/2014/main" id="{2560CFA8-8666-401D-B91D-47D7B7FABCCC}"/>
              </a:ext>
            </a:extLst>
          </p:cNvPr>
          <p:cNvSpPr/>
          <p:nvPr userDrawn="1"/>
        </p:nvSpPr>
        <p:spPr>
          <a:xfrm>
            <a:off x="4697001" y="6297424"/>
            <a:ext cx="99631" cy="161861"/>
          </a:xfrm>
          <a:custGeom>
            <a:avLst/>
            <a:gdLst>
              <a:gd name="connsiteX0" fmla="*/ 0 w 99631"/>
              <a:gd name="connsiteY0" fmla="*/ 0 h 161861"/>
              <a:gd name="connsiteX1" fmla="*/ 48006 w 99631"/>
              <a:gd name="connsiteY1" fmla="*/ 0 h 161861"/>
              <a:gd name="connsiteX2" fmla="*/ 99631 w 99631"/>
              <a:gd name="connsiteY2" fmla="*/ 80962 h 161861"/>
              <a:gd name="connsiteX3" fmla="*/ 48006 w 99631"/>
              <a:gd name="connsiteY3" fmla="*/ 161862 h 161861"/>
              <a:gd name="connsiteX4" fmla="*/ 0 w 99631"/>
              <a:gd name="connsiteY4" fmla="*/ 161862 h 161861"/>
              <a:gd name="connsiteX5" fmla="*/ 51625 w 99631"/>
              <a:gd name="connsiteY5" fmla="*/ 80962 h 161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631" h="161861">
                <a:moveTo>
                  <a:pt x="0" y="0"/>
                </a:moveTo>
                <a:lnTo>
                  <a:pt x="48006" y="0"/>
                </a:lnTo>
                <a:lnTo>
                  <a:pt x="99631" y="80962"/>
                </a:lnTo>
                <a:lnTo>
                  <a:pt x="48006" y="161862"/>
                </a:lnTo>
                <a:lnTo>
                  <a:pt x="0" y="161862"/>
                </a:lnTo>
                <a:lnTo>
                  <a:pt x="51625" y="80962"/>
                </a:lnTo>
                <a:close/>
              </a:path>
            </a:pathLst>
          </a:custGeom>
          <a:solidFill>
            <a:schemeClr val="bg2">
              <a:alpha val="23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01" name="Text Placeholder 100">
            <a:extLst>
              <a:ext uri="{FF2B5EF4-FFF2-40B4-BE49-F238E27FC236}">
                <a16:creationId xmlns:a16="http://schemas.microsoft.com/office/drawing/2014/main" id="{E68E1B68-9A85-4371-8C00-E6C787C594B2}"/>
              </a:ext>
            </a:extLst>
          </p:cNvPr>
          <p:cNvSpPr>
            <a:spLocks noGrp="1"/>
          </p:cNvSpPr>
          <p:nvPr userDrawn="1">
            <p:ph type="body" sz="quarter" idx="11" hasCustomPrompt="1"/>
          </p:nvPr>
        </p:nvSpPr>
        <p:spPr>
          <a:xfrm>
            <a:off x="771462" y="3134272"/>
            <a:ext cx="3026664" cy="1515287"/>
          </a:xfrm>
        </p:spPr>
        <p:txBody>
          <a:bodyPr vert="horz" lIns="0" tIns="0" rIns="0" bIns="0" rtlCol="0" anchor="ctr" anchorCtr="0">
            <a:spAutoFit/>
          </a:bodyPr>
          <a:lstStyle>
            <a:lvl1pPr>
              <a:defRPr lang="en-US" dirty="0">
                <a:solidFill>
                  <a:schemeClr val="bg1"/>
                </a:solidFill>
              </a:defRPr>
            </a:lvl1pPr>
            <a:lvl2pPr>
              <a:defRPr lang="en-US" dirty="0">
                <a:solidFill>
                  <a:schemeClr val="bg1"/>
                </a:solidFill>
              </a:defRPr>
            </a:lvl2pPr>
            <a:lvl3pPr>
              <a:defRPr lang="en-US" dirty="0">
                <a:solidFill>
                  <a:schemeClr val="bg1"/>
                </a:solidFill>
              </a:defRPr>
            </a:lvl3pPr>
            <a:lvl4pPr>
              <a:defRPr lang="en-US" dirty="0">
                <a:solidFill>
                  <a:schemeClr val="bg1"/>
                </a:solidFill>
              </a:defRPr>
            </a:lvl4pPr>
          </a:lstStyle>
          <a:p>
            <a:pPr lvl="0"/>
            <a:r>
              <a:rPr lang="en-US" dirty="0"/>
              <a:t>Add call out text here</a:t>
            </a:r>
          </a:p>
          <a:p>
            <a:pPr lvl="1"/>
            <a:r>
              <a:rPr lang="en-US" dirty="0"/>
              <a:t>Bullet 2</a:t>
            </a:r>
          </a:p>
          <a:p>
            <a:pPr marL="896112" lvl="2" indent="-228600">
              <a:buBlip>
                <a:blip r:embed="rId5">
                  <a:extLst>
                    <a:ext uri="{96DAC541-7B7A-43D3-8B79-37D633B846F1}">
                      <asvg:svgBlip xmlns:asvg="http://schemas.microsoft.com/office/drawing/2016/SVG/main" r:embed="rId6"/>
                    </a:ext>
                  </a:extLst>
                </a:blip>
              </a:buBlip>
            </a:pPr>
            <a:r>
              <a:rPr lang="en-US" dirty="0"/>
              <a:t>Bullet 3</a:t>
            </a:r>
          </a:p>
          <a:p>
            <a:pPr marL="1143000" lvl="3">
              <a:buBlip>
                <a:blip r:embed="rId7"/>
              </a:buBlip>
            </a:pPr>
            <a:r>
              <a:rPr lang="en-US" dirty="0"/>
              <a:t>Bullet 4</a:t>
            </a:r>
          </a:p>
        </p:txBody>
      </p:sp>
      <p:grpSp>
        <p:nvGrpSpPr>
          <p:cNvPr id="63" name="Group 62">
            <a:extLst>
              <a:ext uri="{FF2B5EF4-FFF2-40B4-BE49-F238E27FC236}">
                <a16:creationId xmlns:a16="http://schemas.microsoft.com/office/drawing/2014/main" id="{E4983F59-20D1-456F-9822-48C6226503C4}"/>
              </a:ext>
            </a:extLst>
          </p:cNvPr>
          <p:cNvGrpSpPr/>
          <p:nvPr userDrawn="1"/>
        </p:nvGrpSpPr>
        <p:grpSpPr>
          <a:xfrm>
            <a:off x="3505373" y="2988934"/>
            <a:ext cx="478233" cy="3067294"/>
            <a:chOff x="3543714" y="2978301"/>
            <a:chExt cx="478233" cy="3067294"/>
          </a:xfrm>
        </p:grpSpPr>
        <p:cxnSp>
          <p:nvCxnSpPr>
            <p:cNvPr id="64" name="Straight Connector 63">
              <a:extLst>
                <a:ext uri="{FF2B5EF4-FFF2-40B4-BE49-F238E27FC236}">
                  <a16:creationId xmlns:a16="http://schemas.microsoft.com/office/drawing/2014/main" id="{F139F8BB-DB21-4143-AE80-E3F57EF11700}"/>
                </a:ext>
              </a:extLst>
            </p:cNvPr>
            <p:cNvCxnSpPr/>
            <p:nvPr userDrawn="1"/>
          </p:nvCxnSpPr>
          <p:spPr>
            <a:xfrm>
              <a:off x="4018231" y="2978301"/>
              <a:ext cx="0" cy="3063244"/>
            </a:xfrm>
            <a:prstGeom prst="line">
              <a:avLst/>
            </a:prstGeom>
            <a:ln w="3175">
              <a:solidFill>
                <a:srgbClr val="808888"/>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C51FBC5C-EFA9-4EAE-884D-1053E7D82ABF}"/>
                </a:ext>
              </a:extLst>
            </p:cNvPr>
            <p:cNvCxnSpPr>
              <a:cxnSpLocks/>
            </p:cNvCxnSpPr>
            <p:nvPr userDrawn="1"/>
          </p:nvCxnSpPr>
          <p:spPr>
            <a:xfrm>
              <a:off x="4018231" y="5043883"/>
              <a:ext cx="0" cy="1001712"/>
            </a:xfrm>
            <a:prstGeom prst="line">
              <a:avLst/>
            </a:prstGeom>
            <a:ln w="9525">
              <a:solidFill>
                <a:srgbClr val="FFFFFE"/>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47B92371-B3C4-482B-8F9D-BABDE6271931}"/>
                </a:ext>
              </a:extLst>
            </p:cNvPr>
            <p:cNvCxnSpPr>
              <a:cxnSpLocks/>
            </p:cNvCxnSpPr>
            <p:nvPr userDrawn="1"/>
          </p:nvCxnSpPr>
          <p:spPr>
            <a:xfrm>
              <a:off x="3543714" y="6041913"/>
              <a:ext cx="478233" cy="0"/>
            </a:xfrm>
            <a:prstGeom prst="line">
              <a:avLst/>
            </a:prstGeom>
            <a:ln w="19050">
              <a:solidFill>
                <a:srgbClr val="FFFFFE"/>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313202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amp; 1 Image">
    <p:spTree>
      <p:nvGrpSpPr>
        <p:cNvPr id="1" name=""/>
        <p:cNvGrpSpPr/>
        <p:nvPr/>
      </p:nvGrpSpPr>
      <p:grpSpPr>
        <a:xfrm>
          <a:off x="0" y="0"/>
          <a:ext cx="0" cy="0"/>
          <a:chOff x="0" y="0"/>
          <a:chExt cx="0" cy="0"/>
        </a:xfrm>
      </p:grpSpPr>
      <p:sp>
        <p:nvSpPr>
          <p:cNvPr id="20" name="Picture Placeholder 19">
            <a:extLst>
              <a:ext uri="{FF2B5EF4-FFF2-40B4-BE49-F238E27FC236}">
                <a16:creationId xmlns:a16="http://schemas.microsoft.com/office/drawing/2014/main" id="{8BA33D38-FF79-4659-BC13-5AED39062B0A}"/>
              </a:ext>
            </a:extLst>
          </p:cNvPr>
          <p:cNvSpPr>
            <a:spLocks noGrp="1"/>
          </p:cNvSpPr>
          <p:nvPr>
            <p:ph type="pic" sz="quarter" idx="12" hasCustomPrompt="1"/>
          </p:nvPr>
        </p:nvSpPr>
        <p:spPr>
          <a:xfrm>
            <a:off x="1524" y="0"/>
            <a:ext cx="12188952" cy="5208644"/>
          </a:xfrm>
          <a:custGeom>
            <a:avLst/>
            <a:gdLst>
              <a:gd name="connsiteX0" fmla="*/ 0 w 12188952"/>
              <a:gd name="connsiteY0" fmla="*/ 0 h 5195944"/>
              <a:gd name="connsiteX1" fmla="*/ 12188952 w 12188952"/>
              <a:gd name="connsiteY1" fmla="*/ 0 h 5195944"/>
              <a:gd name="connsiteX2" fmla="*/ 12188952 w 12188952"/>
              <a:gd name="connsiteY2" fmla="*/ 5195944 h 5195944"/>
              <a:gd name="connsiteX3" fmla="*/ 2659341 w 12188952"/>
              <a:gd name="connsiteY3" fmla="*/ 5195944 h 5195944"/>
              <a:gd name="connsiteX4" fmla="*/ 2257812 w 12188952"/>
              <a:gd name="connsiteY4" fmla="*/ 4992786 h 5195944"/>
              <a:gd name="connsiteX5" fmla="*/ 0 w 12188952"/>
              <a:gd name="connsiteY5" fmla="*/ 4992786 h 5195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88952" h="5195944">
                <a:moveTo>
                  <a:pt x="0" y="0"/>
                </a:moveTo>
                <a:lnTo>
                  <a:pt x="12188952" y="0"/>
                </a:lnTo>
                <a:lnTo>
                  <a:pt x="12188952" y="5195944"/>
                </a:lnTo>
                <a:lnTo>
                  <a:pt x="2659341" y="5195944"/>
                </a:lnTo>
                <a:lnTo>
                  <a:pt x="2257812" y="4992786"/>
                </a:lnTo>
                <a:lnTo>
                  <a:pt x="0" y="4992786"/>
                </a:lnTo>
                <a:close/>
              </a:path>
            </a:pathLst>
          </a:custGeom>
          <a:solidFill>
            <a:schemeClr val="bg1">
              <a:lumMod val="95000"/>
            </a:schemeClr>
          </a:solidFill>
        </p:spPr>
        <p:txBody>
          <a:bodyPr wrap="square" bIns="640080" anchor="ctr">
            <a:noAutofit/>
          </a:bodyPr>
          <a:lstStyle>
            <a:lvl1pPr marL="0" indent="0" algn="ctr">
              <a:buNone/>
              <a:defRPr sz="1600" b="0">
                <a:solidFill>
                  <a:schemeClr val="accent5"/>
                </a:solidFill>
                <a:latin typeface="+mn-lt"/>
              </a:defRPr>
            </a:lvl1pPr>
          </a:lstStyle>
          <a:p>
            <a:r>
              <a:rPr lang="en-US" dirty="0"/>
              <a:t>Click picture icon to add image</a:t>
            </a:r>
          </a:p>
        </p:txBody>
      </p:sp>
      <p:sp>
        <p:nvSpPr>
          <p:cNvPr id="11" name="Freeform: Shape 10">
            <a:extLst>
              <a:ext uri="{FF2B5EF4-FFF2-40B4-BE49-F238E27FC236}">
                <a16:creationId xmlns:a16="http://schemas.microsoft.com/office/drawing/2014/main" id="{061473D3-D9B8-4ABB-B46F-2584ADD4252E}"/>
              </a:ext>
            </a:extLst>
          </p:cNvPr>
          <p:cNvSpPr/>
          <p:nvPr userDrawn="1"/>
        </p:nvSpPr>
        <p:spPr>
          <a:xfrm>
            <a:off x="3048" y="4992785"/>
            <a:ext cx="12201129" cy="1778523"/>
          </a:xfrm>
          <a:custGeom>
            <a:avLst/>
            <a:gdLst>
              <a:gd name="connsiteX0" fmla="*/ 0 w 12225528"/>
              <a:gd name="connsiteY0" fmla="*/ 0 h 1742130"/>
              <a:gd name="connsiteX1" fmla="*/ 2261766 w 12225528"/>
              <a:gd name="connsiteY1" fmla="*/ 0 h 1742130"/>
              <a:gd name="connsiteX2" fmla="*/ 2669225 w 12225528"/>
              <a:gd name="connsiteY2" fmla="*/ 201008 h 1742130"/>
              <a:gd name="connsiteX3" fmla="*/ 12193158 w 12225528"/>
              <a:gd name="connsiteY3" fmla="*/ 201008 h 1742130"/>
              <a:gd name="connsiteX4" fmla="*/ 12193158 w 12225528"/>
              <a:gd name="connsiteY4" fmla="*/ 0 h 1742130"/>
              <a:gd name="connsiteX5" fmla="*/ 12225528 w 12225528"/>
              <a:gd name="connsiteY5" fmla="*/ 0 h 1742130"/>
              <a:gd name="connsiteX6" fmla="*/ 12225528 w 12225528"/>
              <a:gd name="connsiteY6" fmla="*/ 1508582 h 1742130"/>
              <a:gd name="connsiteX7" fmla="*/ 9244676 w 12225528"/>
              <a:gd name="connsiteY7" fmla="*/ 1508582 h 1742130"/>
              <a:gd name="connsiteX8" fmla="*/ 8712452 w 12225528"/>
              <a:gd name="connsiteY8" fmla="*/ 1740686 h 1742130"/>
              <a:gd name="connsiteX9" fmla="*/ 8715763 w 12225528"/>
              <a:gd name="connsiteY9" fmla="*/ 1742130 h 1742130"/>
              <a:gd name="connsiteX10" fmla="*/ 0 w 12225528"/>
              <a:gd name="connsiteY10" fmla="*/ 1742130 h 1742130"/>
              <a:gd name="connsiteX0" fmla="*/ 0 w 12225528"/>
              <a:gd name="connsiteY0" fmla="*/ 0 h 1742130"/>
              <a:gd name="connsiteX1" fmla="*/ 2261766 w 12225528"/>
              <a:gd name="connsiteY1" fmla="*/ 0 h 1742130"/>
              <a:gd name="connsiteX2" fmla="*/ 2669225 w 12225528"/>
              <a:gd name="connsiteY2" fmla="*/ 201008 h 1742130"/>
              <a:gd name="connsiteX3" fmla="*/ 12193158 w 12225528"/>
              <a:gd name="connsiteY3" fmla="*/ 201008 h 1742130"/>
              <a:gd name="connsiteX4" fmla="*/ 12193158 w 12225528"/>
              <a:gd name="connsiteY4" fmla="*/ 0 h 1742130"/>
              <a:gd name="connsiteX5" fmla="*/ 12225528 w 12225528"/>
              <a:gd name="connsiteY5" fmla="*/ 1508582 h 1742130"/>
              <a:gd name="connsiteX6" fmla="*/ 9244676 w 12225528"/>
              <a:gd name="connsiteY6" fmla="*/ 1508582 h 1742130"/>
              <a:gd name="connsiteX7" fmla="*/ 8712452 w 12225528"/>
              <a:gd name="connsiteY7" fmla="*/ 1740686 h 1742130"/>
              <a:gd name="connsiteX8" fmla="*/ 8715763 w 12225528"/>
              <a:gd name="connsiteY8" fmla="*/ 1742130 h 1742130"/>
              <a:gd name="connsiteX9" fmla="*/ 0 w 12225528"/>
              <a:gd name="connsiteY9" fmla="*/ 1742130 h 1742130"/>
              <a:gd name="connsiteX10" fmla="*/ 0 w 12225528"/>
              <a:gd name="connsiteY10" fmla="*/ 0 h 1742130"/>
              <a:gd name="connsiteX0" fmla="*/ 0 w 12225528"/>
              <a:gd name="connsiteY0" fmla="*/ 0 h 1742130"/>
              <a:gd name="connsiteX1" fmla="*/ 2261766 w 12225528"/>
              <a:gd name="connsiteY1" fmla="*/ 0 h 1742130"/>
              <a:gd name="connsiteX2" fmla="*/ 2669225 w 12225528"/>
              <a:gd name="connsiteY2" fmla="*/ 201008 h 1742130"/>
              <a:gd name="connsiteX3" fmla="*/ 12193158 w 12225528"/>
              <a:gd name="connsiteY3" fmla="*/ 201008 h 1742130"/>
              <a:gd name="connsiteX4" fmla="*/ 12225528 w 12225528"/>
              <a:gd name="connsiteY4" fmla="*/ 1508582 h 1742130"/>
              <a:gd name="connsiteX5" fmla="*/ 9244676 w 12225528"/>
              <a:gd name="connsiteY5" fmla="*/ 1508582 h 1742130"/>
              <a:gd name="connsiteX6" fmla="*/ 8712452 w 12225528"/>
              <a:gd name="connsiteY6" fmla="*/ 1740686 h 1742130"/>
              <a:gd name="connsiteX7" fmla="*/ 8715763 w 12225528"/>
              <a:gd name="connsiteY7" fmla="*/ 1742130 h 1742130"/>
              <a:gd name="connsiteX8" fmla="*/ 0 w 12225528"/>
              <a:gd name="connsiteY8" fmla="*/ 1742130 h 1742130"/>
              <a:gd name="connsiteX9" fmla="*/ 0 w 12225528"/>
              <a:gd name="connsiteY9" fmla="*/ 0 h 1742130"/>
              <a:gd name="connsiteX0" fmla="*/ 0 w 12244111"/>
              <a:gd name="connsiteY0" fmla="*/ 0 h 1742130"/>
              <a:gd name="connsiteX1" fmla="*/ 2261766 w 12244111"/>
              <a:gd name="connsiteY1" fmla="*/ 0 h 1742130"/>
              <a:gd name="connsiteX2" fmla="*/ 2669225 w 12244111"/>
              <a:gd name="connsiteY2" fmla="*/ 201008 h 1742130"/>
              <a:gd name="connsiteX3" fmla="*/ 12244111 w 12244111"/>
              <a:gd name="connsiteY3" fmla="*/ 207273 h 1742130"/>
              <a:gd name="connsiteX4" fmla="*/ 12225528 w 12244111"/>
              <a:gd name="connsiteY4" fmla="*/ 1508582 h 1742130"/>
              <a:gd name="connsiteX5" fmla="*/ 9244676 w 12244111"/>
              <a:gd name="connsiteY5" fmla="*/ 1508582 h 1742130"/>
              <a:gd name="connsiteX6" fmla="*/ 8712452 w 12244111"/>
              <a:gd name="connsiteY6" fmla="*/ 1740686 h 1742130"/>
              <a:gd name="connsiteX7" fmla="*/ 8715763 w 12244111"/>
              <a:gd name="connsiteY7" fmla="*/ 1742130 h 1742130"/>
              <a:gd name="connsiteX8" fmla="*/ 0 w 12244111"/>
              <a:gd name="connsiteY8" fmla="*/ 1742130 h 1742130"/>
              <a:gd name="connsiteX9" fmla="*/ 0 w 12244111"/>
              <a:gd name="connsiteY9" fmla="*/ 0 h 1742130"/>
              <a:gd name="connsiteX0" fmla="*/ 0 w 12244111"/>
              <a:gd name="connsiteY0" fmla="*/ 0 h 1742130"/>
              <a:gd name="connsiteX1" fmla="*/ 2261766 w 12244111"/>
              <a:gd name="connsiteY1" fmla="*/ 0 h 1742130"/>
              <a:gd name="connsiteX2" fmla="*/ 2669225 w 12244111"/>
              <a:gd name="connsiteY2" fmla="*/ 201008 h 1742130"/>
              <a:gd name="connsiteX3" fmla="*/ 12244111 w 12244111"/>
              <a:gd name="connsiteY3" fmla="*/ 207273 h 1742130"/>
              <a:gd name="connsiteX4" fmla="*/ 12225528 w 12244111"/>
              <a:gd name="connsiteY4" fmla="*/ 1508582 h 1742130"/>
              <a:gd name="connsiteX5" fmla="*/ 9244676 w 12244111"/>
              <a:gd name="connsiteY5" fmla="*/ 1508582 h 1742130"/>
              <a:gd name="connsiteX6" fmla="*/ 8712452 w 12244111"/>
              <a:gd name="connsiteY6" fmla="*/ 1740686 h 1742130"/>
              <a:gd name="connsiteX7" fmla="*/ 8715763 w 12244111"/>
              <a:gd name="connsiteY7" fmla="*/ 1742130 h 1742130"/>
              <a:gd name="connsiteX8" fmla="*/ 0 w 12244111"/>
              <a:gd name="connsiteY8" fmla="*/ 1742130 h 1742130"/>
              <a:gd name="connsiteX9" fmla="*/ 0 w 12244111"/>
              <a:gd name="connsiteY9" fmla="*/ 0 h 1742130"/>
              <a:gd name="connsiteX0" fmla="*/ 0 w 12237742"/>
              <a:gd name="connsiteY0" fmla="*/ 0 h 1742130"/>
              <a:gd name="connsiteX1" fmla="*/ 2261766 w 12237742"/>
              <a:gd name="connsiteY1" fmla="*/ 0 h 1742130"/>
              <a:gd name="connsiteX2" fmla="*/ 2669225 w 12237742"/>
              <a:gd name="connsiteY2" fmla="*/ 201008 h 1742130"/>
              <a:gd name="connsiteX3" fmla="*/ 12237742 w 12237742"/>
              <a:gd name="connsiteY3" fmla="*/ 201008 h 1742130"/>
              <a:gd name="connsiteX4" fmla="*/ 12225528 w 12237742"/>
              <a:gd name="connsiteY4" fmla="*/ 1508582 h 1742130"/>
              <a:gd name="connsiteX5" fmla="*/ 9244676 w 12237742"/>
              <a:gd name="connsiteY5" fmla="*/ 1508582 h 1742130"/>
              <a:gd name="connsiteX6" fmla="*/ 8712452 w 12237742"/>
              <a:gd name="connsiteY6" fmla="*/ 1740686 h 1742130"/>
              <a:gd name="connsiteX7" fmla="*/ 8715763 w 12237742"/>
              <a:gd name="connsiteY7" fmla="*/ 1742130 h 1742130"/>
              <a:gd name="connsiteX8" fmla="*/ 0 w 12237742"/>
              <a:gd name="connsiteY8" fmla="*/ 1742130 h 1742130"/>
              <a:gd name="connsiteX9" fmla="*/ 0 w 12237742"/>
              <a:gd name="connsiteY9" fmla="*/ 0 h 1742130"/>
              <a:gd name="connsiteX0" fmla="*/ 0 w 12237742"/>
              <a:gd name="connsiteY0" fmla="*/ 0 h 1742130"/>
              <a:gd name="connsiteX1" fmla="*/ 2261766 w 12237742"/>
              <a:gd name="connsiteY1" fmla="*/ 0 h 1742130"/>
              <a:gd name="connsiteX2" fmla="*/ 2669225 w 12237742"/>
              <a:gd name="connsiteY2" fmla="*/ 201008 h 1742130"/>
              <a:gd name="connsiteX3" fmla="*/ 12237742 w 12237742"/>
              <a:gd name="connsiteY3" fmla="*/ 201008 h 1742130"/>
              <a:gd name="connsiteX4" fmla="*/ 12234020 w 12237742"/>
              <a:gd name="connsiteY4" fmla="*/ 1625525 h 1742130"/>
              <a:gd name="connsiteX5" fmla="*/ 9244676 w 12237742"/>
              <a:gd name="connsiteY5" fmla="*/ 1508582 h 1742130"/>
              <a:gd name="connsiteX6" fmla="*/ 8712452 w 12237742"/>
              <a:gd name="connsiteY6" fmla="*/ 1740686 h 1742130"/>
              <a:gd name="connsiteX7" fmla="*/ 8715763 w 12237742"/>
              <a:gd name="connsiteY7" fmla="*/ 1742130 h 1742130"/>
              <a:gd name="connsiteX8" fmla="*/ 0 w 12237742"/>
              <a:gd name="connsiteY8" fmla="*/ 1742130 h 1742130"/>
              <a:gd name="connsiteX9" fmla="*/ 0 w 12237742"/>
              <a:gd name="connsiteY9" fmla="*/ 0 h 1742130"/>
              <a:gd name="connsiteX0" fmla="*/ 0 w 12237742"/>
              <a:gd name="connsiteY0" fmla="*/ 0 h 1742130"/>
              <a:gd name="connsiteX1" fmla="*/ 2261766 w 12237742"/>
              <a:gd name="connsiteY1" fmla="*/ 0 h 1742130"/>
              <a:gd name="connsiteX2" fmla="*/ 2669225 w 12237742"/>
              <a:gd name="connsiteY2" fmla="*/ 201008 h 1742130"/>
              <a:gd name="connsiteX3" fmla="*/ 12237742 w 12237742"/>
              <a:gd name="connsiteY3" fmla="*/ 201008 h 1742130"/>
              <a:gd name="connsiteX4" fmla="*/ 12234020 w 12237742"/>
              <a:gd name="connsiteY4" fmla="*/ 1625525 h 1742130"/>
              <a:gd name="connsiteX5" fmla="*/ 8998407 w 12237742"/>
              <a:gd name="connsiteY5" fmla="*/ 1625525 h 1742130"/>
              <a:gd name="connsiteX6" fmla="*/ 8712452 w 12237742"/>
              <a:gd name="connsiteY6" fmla="*/ 1740686 h 1742130"/>
              <a:gd name="connsiteX7" fmla="*/ 8715763 w 12237742"/>
              <a:gd name="connsiteY7" fmla="*/ 1742130 h 1742130"/>
              <a:gd name="connsiteX8" fmla="*/ 0 w 12237742"/>
              <a:gd name="connsiteY8" fmla="*/ 1742130 h 1742130"/>
              <a:gd name="connsiteX9" fmla="*/ 0 w 12237742"/>
              <a:gd name="connsiteY9" fmla="*/ 0 h 1742130"/>
              <a:gd name="connsiteX0" fmla="*/ 0 w 12237742"/>
              <a:gd name="connsiteY0" fmla="*/ 0 h 1742130"/>
              <a:gd name="connsiteX1" fmla="*/ 2261766 w 12237742"/>
              <a:gd name="connsiteY1" fmla="*/ 0 h 1742130"/>
              <a:gd name="connsiteX2" fmla="*/ 2669225 w 12237742"/>
              <a:gd name="connsiteY2" fmla="*/ 201008 h 1742130"/>
              <a:gd name="connsiteX3" fmla="*/ 12237742 w 12237742"/>
              <a:gd name="connsiteY3" fmla="*/ 201008 h 1742130"/>
              <a:gd name="connsiteX4" fmla="*/ 12234020 w 12237742"/>
              <a:gd name="connsiteY4" fmla="*/ 1625525 h 1742130"/>
              <a:gd name="connsiteX5" fmla="*/ 9130033 w 12237742"/>
              <a:gd name="connsiteY5" fmla="*/ 1621349 h 1742130"/>
              <a:gd name="connsiteX6" fmla="*/ 8712452 w 12237742"/>
              <a:gd name="connsiteY6" fmla="*/ 1740686 h 1742130"/>
              <a:gd name="connsiteX7" fmla="*/ 8715763 w 12237742"/>
              <a:gd name="connsiteY7" fmla="*/ 1742130 h 1742130"/>
              <a:gd name="connsiteX8" fmla="*/ 0 w 12237742"/>
              <a:gd name="connsiteY8" fmla="*/ 1742130 h 1742130"/>
              <a:gd name="connsiteX9" fmla="*/ 0 w 12237742"/>
              <a:gd name="connsiteY9" fmla="*/ 0 h 1742130"/>
              <a:gd name="connsiteX0" fmla="*/ 0 w 12237742"/>
              <a:gd name="connsiteY0" fmla="*/ 0 h 1754660"/>
              <a:gd name="connsiteX1" fmla="*/ 2261766 w 12237742"/>
              <a:gd name="connsiteY1" fmla="*/ 0 h 1754660"/>
              <a:gd name="connsiteX2" fmla="*/ 2669225 w 12237742"/>
              <a:gd name="connsiteY2" fmla="*/ 201008 h 1754660"/>
              <a:gd name="connsiteX3" fmla="*/ 12237742 w 12237742"/>
              <a:gd name="connsiteY3" fmla="*/ 201008 h 1754660"/>
              <a:gd name="connsiteX4" fmla="*/ 12234020 w 12237742"/>
              <a:gd name="connsiteY4" fmla="*/ 1625525 h 1754660"/>
              <a:gd name="connsiteX5" fmla="*/ 9130033 w 12237742"/>
              <a:gd name="connsiteY5" fmla="*/ 1621349 h 1754660"/>
              <a:gd name="connsiteX6" fmla="*/ 8712452 w 12237742"/>
              <a:gd name="connsiteY6" fmla="*/ 1740686 h 1754660"/>
              <a:gd name="connsiteX7" fmla="*/ 8864374 w 12237742"/>
              <a:gd name="connsiteY7" fmla="*/ 1754660 h 1754660"/>
              <a:gd name="connsiteX8" fmla="*/ 0 w 12237742"/>
              <a:gd name="connsiteY8" fmla="*/ 1742130 h 1754660"/>
              <a:gd name="connsiteX9" fmla="*/ 0 w 12237742"/>
              <a:gd name="connsiteY9" fmla="*/ 0 h 1754660"/>
              <a:gd name="connsiteX0" fmla="*/ 0 w 12237742"/>
              <a:gd name="connsiteY0" fmla="*/ 0 h 1754660"/>
              <a:gd name="connsiteX1" fmla="*/ 2261766 w 12237742"/>
              <a:gd name="connsiteY1" fmla="*/ 0 h 1754660"/>
              <a:gd name="connsiteX2" fmla="*/ 2669225 w 12237742"/>
              <a:gd name="connsiteY2" fmla="*/ 201008 h 1754660"/>
              <a:gd name="connsiteX3" fmla="*/ 12237742 w 12237742"/>
              <a:gd name="connsiteY3" fmla="*/ 201008 h 1754660"/>
              <a:gd name="connsiteX4" fmla="*/ 12234020 w 12237742"/>
              <a:gd name="connsiteY4" fmla="*/ 1625525 h 1754660"/>
              <a:gd name="connsiteX5" fmla="*/ 9130033 w 12237742"/>
              <a:gd name="connsiteY5" fmla="*/ 1621349 h 1754660"/>
              <a:gd name="connsiteX6" fmla="*/ 8864374 w 12237742"/>
              <a:gd name="connsiteY6" fmla="*/ 1754660 h 1754660"/>
              <a:gd name="connsiteX7" fmla="*/ 0 w 12237742"/>
              <a:gd name="connsiteY7" fmla="*/ 1742130 h 1754660"/>
              <a:gd name="connsiteX8" fmla="*/ 0 w 12237742"/>
              <a:gd name="connsiteY8" fmla="*/ 0 h 1754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237742" h="1754660">
                <a:moveTo>
                  <a:pt x="0" y="0"/>
                </a:moveTo>
                <a:lnTo>
                  <a:pt x="2261766" y="0"/>
                </a:lnTo>
                <a:lnTo>
                  <a:pt x="2669225" y="201008"/>
                </a:lnTo>
                <a:lnTo>
                  <a:pt x="12237742" y="201008"/>
                </a:lnTo>
                <a:cubicBezTo>
                  <a:pt x="12236501" y="675847"/>
                  <a:pt x="12235261" y="1150686"/>
                  <a:pt x="12234020" y="1625525"/>
                </a:cubicBezTo>
                <a:lnTo>
                  <a:pt x="9130033" y="1621349"/>
                </a:lnTo>
                <a:lnTo>
                  <a:pt x="8864374" y="1754660"/>
                </a:lnTo>
                <a:lnTo>
                  <a:pt x="0" y="1742130"/>
                </a:lnTo>
                <a:lnTo>
                  <a:pt x="0" y="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s-PE" dirty="0">
              <a:solidFill>
                <a:schemeClr val="bg1"/>
              </a:solidFill>
            </a:endParaRPr>
          </a:p>
        </p:txBody>
      </p:sp>
      <p:sp>
        <p:nvSpPr>
          <p:cNvPr id="10" name="Text Placeholder 27"/>
          <p:cNvSpPr>
            <a:spLocks noGrp="1"/>
          </p:cNvSpPr>
          <p:nvPr>
            <p:ph type="body" sz="quarter" idx="15" hasCustomPrompt="1"/>
          </p:nvPr>
        </p:nvSpPr>
        <p:spPr bwMode="gray">
          <a:xfrm>
            <a:off x="184082" y="5598191"/>
            <a:ext cx="11823616" cy="498598"/>
          </a:xfrm>
        </p:spPr>
        <p:txBody>
          <a:bodyPr wrap="square" anchor="ctr" anchorCtr="0">
            <a:spAutoFit/>
          </a:bodyPr>
          <a:lstStyle>
            <a:lvl1pPr marL="0" indent="0" algn="ctr">
              <a:lnSpc>
                <a:spcPct val="90000"/>
              </a:lnSpc>
              <a:spcBef>
                <a:spcPts val="0"/>
              </a:spcBef>
              <a:buNone/>
              <a:defRPr sz="3600" b="1" cap="all" baseline="0">
                <a:solidFill>
                  <a:schemeClr val="bg1"/>
                </a:solidFill>
              </a:defRPr>
            </a:lvl1pPr>
          </a:lstStyle>
          <a:p>
            <a:pPr lvl="0"/>
            <a:r>
              <a:rPr lang="en-US" dirty="0"/>
              <a:t>CLICK TO ADD TEXT</a:t>
            </a:r>
          </a:p>
        </p:txBody>
      </p:sp>
      <p:grpSp>
        <p:nvGrpSpPr>
          <p:cNvPr id="12" name="Group 11">
            <a:extLst>
              <a:ext uri="{FF2B5EF4-FFF2-40B4-BE49-F238E27FC236}">
                <a16:creationId xmlns:a16="http://schemas.microsoft.com/office/drawing/2014/main" id="{4448D662-6523-4218-8C74-57E67EA487D2}"/>
              </a:ext>
            </a:extLst>
          </p:cNvPr>
          <p:cNvGrpSpPr/>
          <p:nvPr userDrawn="1"/>
        </p:nvGrpSpPr>
        <p:grpSpPr>
          <a:xfrm rot="5400000" flipH="1">
            <a:off x="963637" y="4418514"/>
            <a:ext cx="291600" cy="1828800"/>
            <a:chOff x="3543714" y="2978301"/>
            <a:chExt cx="478233" cy="3067294"/>
          </a:xfrm>
        </p:grpSpPr>
        <p:cxnSp>
          <p:nvCxnSpPr>
            <p:cNvPr id="13" name="Straight Connector 12">
              <a:extLst>
                <a:ext uri="{FF2B5EF4-FFF2-40B4-BE49-F238E27FC236}">
                  <a16:creationId xmlns:a16="http://schemas.microsoft.com/office/drawing/2014/main" id="{F68EE3B7-86A3-46E4-8C18-4177BE6F23D3}"/>
                </a:ext>
              </a:extLst>
            </p:cNvPr>
            <p:cNvCxnSpPr/>
            <p:nvPr userDrawn="1"/>
          </p:nvCxnSpPr>
          <p:spPr>
            <a:xfrm>
              <a:off x="4018231" y="2978301"/>
              <a:ext cx="0" cy="3063244"/>
            </a:xfrm>
            <a:prstGeom prst="line">
              <a:avLst/>
            </a:prstGeom>
            <a:ln w="6350">
              <a:solidFill>
                <a:srgbClr val="808888"/>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D400A465-8170-4E06-8AC4-0B4E97C1BA4A}"/>
                </a:ext>
              </a:extLst>
            </p:cNvPr>
            <p:cNvCxnSpPr>
              <a:cxnSpLocks/>
            </p:cNvCxnSpPr>
            <p:nvPr userDrawn="1"/>
          </p:nvCxnSpPr>
          <p:spPr>
            <a:xfrm>
              <a:off x="4018231" y="5043883"/>
              <a:ext cx="0" cy="1001712"/>
            </a:xfrm>
            <a:prstGeom prst="line">
              <a:avLst/>
            </a:prstGeom>
            <a:ln w="12700">
              <a:solidFill>
                <a:srgbClr val="FFFFFE"/>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A0F3370D-BB7A-49E6-B98E-026D631B9909}"/>
                </a:ext>
              </a:extLst>
            </p:cNvPr>
            <p:cNvCxnSpPr>
              <a:cxnSpLocks/>
            </p:cNvCxnSpPr>
            <p:nvPr userDrawn="1"/>
          </p:nvCxnSpPr>
          <p:spPr>
            <a:xfrm>
              <a:off x="3543714" y="6041913"/>
              <a:ext cx="478233" cy="0"/>
            </a:xfrm>
            <a:prstGeom prst="line">
              <a:avLst/>
            </a:prstGeom>
            <a:ln w="19050">
              <a:solidFill>
                <a:srgbClr val="FFFFFE"/>
              </a:solidFill>
            </a:ln>
          </p:spPr>
          <p:style>
            <a:lnRef idx="1">
              <a:schemeClr val="accent1"/>
            </a:lnRef>
            <a:fillRef idx="0">
              <a:schemeClr val="accent1"/>
            </a:fillRef>
            <a:effectRef idx="0">
              <a:schemeClr val="accent1"/>
            </a:effectRef>
            <a:fontRef idx="minor">
              <a:schemeClr val="tx1"/>
            </a:fontRef>
          </p:style>
        </p:cxnSp>
      </p:grpSp>
      <p:grpSp>
        <p:nvGrpSpPr>
          <p:cNvPr id="16" name="Group 15">
            <a:extLst>
              <a:ext uri="{FF2B5EF4-FFF2-40B4-BE49-F238E27FC236}">
                <a16:creationId xmlns:a16="http://schemas.microsoft.com/office/drawing/2014/main" id="{B88816B2-845A-4989-A2B1-4079A2F3752B}"/>
              </a:ext>
            </a:extLst>
          </p:cNvPr>
          <p:cNvGrpSpPr/>
          <p:nvPr userDrawn="1"/>
        </p:nvGrpSpPr>
        <p:grpSpPr>
          <a:xfrm rot="16200000" flipH="1">
            <a:off x="10949912" y="5290616"/>
            <a:ext cx="291600" cy="1828800"/>
            <a:chOff x="3543714" y="2978301"/>
            <a:chExt cx="478233" cy="3067294"/>
          </a:xfrm>
        </p:grpSpPr>
        <p:cxnSp>
          <p:nvCxnSpPr>
            <p:cNvPr id="17" name="Straight Connector 16">
              <a:extLst>
                <a:ext uri="{FF2B5EF4-FFF2-40B4-BE49-F238E27FC236}">
                  <a16:creationId xmlns:a16="http://schemas.microsoft.com/office/drawing/2014/main" id="{ED19B288-2A4F-437F-A0F7-2768B6B747B2}"/>
                </a:ext>
              </a:extLst>
            </p:cNvPr>
            <p:cNvCxnSpPr/>
            <p:nvPr userDrawn="1"/>
          </p:nvCxnSpPr>
          <p:spPr>
            <a:xfrm>
              <a:off x="4018231" y="2978301"/>
              <a:ext cx="0" cy="3063244"/>
            </a:xfrm>
            <a:prstGeom prst="line">
              <a:avLst/>
            </a:prstGeom>
            <a:ln w="6350">
              <a:solidFill>
                <a:srgbClr val="808888"/>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A184DB4A-6A25-4E9B-91DA-0532F23B76DA}"/>
                </a:ext>
              </a:extLst>
            </p:cNvPr>
            <p:cNvCxnSpPr>
              <a:cxnSpLocks/>
            </p:cNvCxnSpPr>
            <p:nvPr userDrawn="1"/>
          </p:nvCxnSpPr>
          <p:spPr>
            <a:xfrm>
              <a:off x="4018231" y="5043883"/>
              <a:ext cx="0" cy="1001712"/>
            </a:xfrm>
            <a:prstGeom prst="line">
              <a:avLst/>
            </a:prstGeom>
            <a:ln w="12700">
              <a:solidFill>
                <a:srgbClr val="FFFFFE"/>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7A0D9433-EAE5-4A07-9C93-1D153DF9FCD0}"/>
                </a:ext>
              </a:extLst>
            </p:cNvPr>
            <p:cNvCxnSpPr>
              <a:cxnSpLocks/>
            </p:cNvCxnSpPr>
            <p:nvPr userDrawn="1"/>
          </p:nvCxnSpPr>
          <p:spPr>
            <a:xfrm>
              <a:off x="3543714" y="6041913"/>
              <a:ext cx="478233" cy="0"/>
            </a:xfrm>
            <a:prstGeom prst="line">
              <a:avLst/>
            </a:prstGeom>
            <a:ln w="19050">
              <a:solidFill>
                <a:srgbClr val="FFFFFE"/>
              </a:solidFill>
            </a:ln>
          </p:spPr>
          <p:style>
            <a:lnRef idx="1">
              <a:schemeClr val="accent1"/>
            </a:lnRef>
            <a:fillRef idx="0">
              <a:schemeClr val="accent1"/>
            </a:fillRef>
            <a:effectRef idx="0">
              <a:schemeClr val="accent1"/>
            </a:effectRef>
            <a:fontRef idx="minor">
              <a:schemeClr val="tx1"/>
            </a:fontRef>
          </p:style>
        </p:cxnSp>
      </p:grpSp>
      <p:grpSp>
        <p:nvGrpSpPr>
          <p:cNvPr id="24" name="Group 23">
            <a:extLst>
              <a:ext uri="{FF2B5EF4-FFF2-40B4-BE49-F238E27FC236}">
                <a16:creationId xmlns:a16="http://schemas.microsoft.com/office/drawing/2014/main" id="{98D69FC5-5274-4468-BEC3-8A28A037ED71}"/>
              </a:ext>
            </a:extLst>
          </p:cNvPr>
          <p:cNvGrpSpPr/>
          <p:nvPr userDrawn="1"/>
        </p:nvGrpSpPr>
        <p:grpSpPr>
          <a:xfrm>
            <a:off x="1524" y="6620256"/>
            <a:ext cx="12188952" cy="237744"/>
            <a:chOff x="0" y="6620256"/>
            <a:chExt cx="12188952" cy="237744"/>
          </a:xfrm>
        </p:grpSpPr>
        <p:sp>
          <p:nvSpPr>
            <p:cNvPr id="25" name="Freeform: Shape 24">
              <a:extLst>
                <a:ext uri="{FF2B5EF4-FFF2-40B4-BE49-F238E27FC236}">
                  <a16:creationId xmlns:a16="http://schemas.microsoft.com/office/drawing/2014/main" id="{8D686C80-5946-4393-9847-B1BC3BD38A43}"/>
                </a:ext>
              </a:extLst>
            </p:cNvPr>
            <p:cNvSpPr/>
            <p:nvPr userDrawn="1"/>
          </p:nvSpPr>
          <p:spPr>
            <a:xfrm>
              <a:off x="0" y="6624535"/>
              <a:ext cx="12188952" cy="233465"/>
            </a:xfrm>
            <a:custGeom>
              <a:avLst/>
              <a:gdLst>
                <a:gd name="connsiteX0" fmla="*/ 8949770 w 11969877"/>
                <a:gd name="connsiteY0" fmla="*/ 0 h 233465"/>
                <a:gd name="connsiteX1" fmla="*/ 11969877 w 11969877"/>
                <a:gd name="connsiteY1" fmla="*/ 0 h 233465"/>
                <a:gd name="connsiteX2" fmla="*/ 11969877 w 11969877"/>
                <a:gd name="connsiteY2" fmla="*/ 233465 h 233465"/>
                <a:gd name="connsiteX3" fmla="*/ 9027859 w 11969877"/>
                <a:gd name="connsiteY3" fmla="*/ 233465 h 233465"/>
                <a:gd name="connsiteX4" fmla="*/ 1048596 w 11969877"/>
                <a:gd name="connsiteY4" fmla="*/ 233465 h 233465"/>
                <a:gd name="connsiteX5" fmla="*/ 33436 w 11969877"/>
                <a:gd name="connsiteY5" fmla="*/ 233465 h 233465"/>
                <a:gd name="connsiteX6" fmla="*/ 0 w 11969877"/>
                <a:gd name="connsiteY6" fmla="*/ 233465 h 233465"/>
                <a:gd name="connsiteX7" fmla="*/ 0 w 11969877"/>
                <a:gd name="connsiteY7" fmla="*/ 169375 h 233465"/>
                <a:gd name="connsiteX8" fmla="*/ 0 w 11969877"/>
                <a:gd name="connsiteY8" fmla="*/ 126232 h 233465"/>
                <a:gd name="connsiteX9" fmla="*/ 0 w 11969877"/>
                <a:gd name="connsiteY9" fmla="*/ 109891 h 233465"/>
                <a:gd name="connsiteX10" fmla="*/ 8695556 w 11969877"/>
                <a:gd name="connsiteY10" fmla="*/ 109891 h 233465"/>
                <a:gd name="connsiteX11" fmla="*/ 8949770 w 11969877"/>
                <a:gd name="connsiteY11" fmla="*/ 0 h 233465"/>
                <a:gd name="connsiteX0" fmla="*/ 8949770 w 11969877"/>
                <a:gd name="connsiteY0" fmla="*/ 0 h 233465"/>
                <a:gd name="connsiteX1" fmla="*/ 11969877 w 11969877"/>
                <a:gd name="connsiteY1" fmla="*/ 0 h 233465"/>
                <a:gd name="connsiteX2" fmla="*/ 11969877 w 11969877"/>
                <a:gd name="connsiteY2" fmla="*/ 233465 h 233465"/>
                <a:gd name="connsiteX3" fmla="*/ 9027859 w 11969877"/>
                <a:gd name="connsiteY3" fmla="*/ 233465 h 233465"/>
                <a:gd name="connsiteX4" fmla="*/ 1048596 w 11969877"/>
                <a:gd name="connsiteY4" fmla="*/ 233465 h 233465"/>
                <a:gd name="connsiteX5" fmla="*/ 33436 w 11969877"/>
                <a:gd name="connsiteY5" fmla="*/ 233465 h 233465"/>
                <a:gd name="connsiteX6" fmla="*/ 0 w 11969877"/>
                <a:gd name="connsiteY6" fmla="*/ 233465 h 233465"/>
                <a:gd name="connsiteX7" fmla="*/ 0 w 11969877"/>
                <a:gd name="connsiteY7" fmla="*/ 169375 h 233465"/>
                <a:gd name="connsiteX8" fmla="*/ 0 w 11969877"/>
                <a:gd name="connsiteY8" fmla="*/ 126232 h 233465"/>
                <a:gd name="connsiteX9" fmla="*/ 0 w 11969877"/>
                <a:gd name="connsiteY9" fmla="*/ 109891 h 233465"/>
                <a:gd name="connsiteX10" fmla="*/ 8708028 w 11969877"/>
                <a:gd name="connsiteY10" fmla="*/ 141641 h 233465"/>
                <a:gd name="connsiteX11" fmla="*/ 8949770 w 11969877"/>
                <a:gd name="connsiteY11" fmla="*/ 0 h 233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969877" h="233465">
                  <a:moveTo>
                    <a:pt x="8949770" y="0"/>
                  </a:moveTo>
                  <a:lnTo>
                    <a:pt x="11969877" y="0"/>
                  </a:lnTo>
                  <a:lnTo>
                    <a:pt x="11969877" y="233465"/>
                  </a:lnTo>
                  <a:lnTo>
                    <a:pt x="9027859" y="233465"/>
                  </a:lnTo>
                  <a:lnTo>
                    <a:pt x="1048596" y="233465"/>
                  </a:lnTo>
                  <a:lnTo>
                    <a:pt x="33436" y="233465"/>
                  </a:lnTo>
                  <a:lnTo>
                    <a:pt x="0" y="233465"/>
                  </a:lnTo>
                  <a:lnTo>
                    <a:pt x="0" y="169375"/>
                  </a:lnTo>
                  <a:lnTo>
                    <a:pt x="0" y="126232"/>
                  </a:lnTo>
                  <a:lnTo>
                    <a:pt x="0" y="109891"/>
                  </a:lnTo>
                  <a:lnTo>
                    <a:pt x="8708028" y="141641"/>
                  </a:lnTo>
                  <a:lnTo>
                    <a:pt x="8949770"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sz="1800" dirty="0">
                <a:solidFill>
                  <a:schemeClr val="bg1"/>
                </a:solidFill>
              </a:endParaRPr>
            </a:p>
          </p:txBody>
        </p:sp>
        <p:sp>
          <p:nvSpPr>
            <p:cNvPr id="26" name="Freeform 4">
              <a:extLst>
                <a:ext uri="{FF2B5EF4-FFF2-40B4-BE49-F238E27FC236}">
                  <a16:creationId xmlns:a16="http://schemas.microsoft.com/office/drawing/2014/main" id="{FAF5E269-FC2A-4D03-B235-792797AF4664}"/>
                </a:ext>
              </a:extLst>
            </p:cNvPr>
            <p:cNvSpPr>
              <a:spLocks noChangeAspect="1"/>
            </p:cNvSpPr>
            <p:nvPr userDrawn="1"/>
          </p:nvSpPr>
          <p:spPr>
            <a:xfrm>
              <a:off x="8585655" y="6620256"/>
              <a:ext cx="545655" cy="237744"/>
            </a:xfrm>
            <a:custGeom>
              <a:avLst/>
              <a:gdLst>
                <a:gd name="connsiteX0" fmla="*/ 57150 w 1790700"/>
                <a:gd name="connsiteY0" fmla="*/ 0 h 3086100"/>
                <a:gd name="connsiteX1" fmla="*/ 1790700 w 1790700"/>
                <a:gd name="connsiteY1" fmla="*/ 3086100 h 3086100"/>
                <a:gd name="connsiteX2" fmla="*/ 0 w 1790700"/>
                <a:gd name="connsiteY2" fmla="*/ 3067050 h 3086100"/>
                <a:gd name="connsiteX3" fmla="*/ 0 w 1790700"/>
                <a:gd name="connsiteY3" fmla="*/ 0 h 3086100"/>
                <a:gd name="connsiteX4" fmla="*/ 19050 w 1790700"/>
                <a:gd name="connsiteY4" fmla="*/ 38100 h 3086100"/>
                <a:gd name="connsiteX5" fmla="*/ 19050 w 1790700"/>
                <a:gd name="connsiteY5" fmla="*/ 57150 h 3086100"/>
                <a:gd name="connsiteX0" fmla="*/ 57150 w 1790700"/>
                <a:gd name="connsiteY0" fmla="*/ 0 h 3086100"/>
                <a:gd name="connsiteX1" fmla="*/ 1790700 w 1790700"/>
                <a:gd name="connsiteY1" fmla="*/ 3086100 h 3086100"/>
                <a:gd name="connsiteX2" fmla="*/ 0 w 1790700"/>
                <a:gd name="connsiteY2" fmla="*/ 3067050 h 3086100"/>
                <a:gd name="connsiteX3" fmla="*/ 0 w 1790700"/>
                <a:gd name="connsiteY3" fmla="*/ 0 h 3086100"/>
                <a:gd name="connsiteX4" fmla="*/ 19050 w 1790700"/>
                <a:gd name="connsiteY4" fmla="*/ 38100 h 3086100"/>
                <a:gd name="connsiteX0" fmla="*/ 57150 w 1790700"/>
                <a:gd name="connsiteY0" fmla="*/ 0 h 3086100"/>
                <a:gd name="connsiteX1" fmla="*/ 1790700 w 1790700"/>
                <a:gd name="connsiteY1" fmla="*/ 3086100 h 3086100"/>
                <a:gd name="connsiteX2" fmla="*/ 0 w 1790700"/>
                <a:gd name="connsiteY2" fmla="*/ 3067050 h 3086100"/>
                <a:gd name="connsiteX3" fmla="*/ 0 w 1790700"/>
                <a:gd name="connsiteY3" fmla="*/ 0 h 3086100"/>
                <a:gd name="connsiteX0" fmla="*/ 57150 w 1790700"/>
                <a:gd name="connsiteY0" fmla="*/ 0 h 3086100"/>
                <a:gd name="connsiteX1" fmla="*/ 1790700 w 1790700"/>
                <a:gd name="connsiteY1" fmla="*/ 3086100 h 3086100"/>
                <a:gd name="connsiteX2" fmla="*/ 0 w 1790700"/>
                <a:gd name="connsiteY2" fmla="*/ 3067050 h 3086100"/>
                <a:gd name="connsiteX0" fmla="*/ 0 w 1733550"/>
                <a:gd name="connsiteY0" fmla="*/ 0 h 3086100"/>
                <a:gd name="connsiteX1" fmla="*/ 1733550 w 1733550"/>
                <a:gd name="connsiteY1" fmla="*/ 3086100 h 3086100"/>
                <a:gd name="connsiteX2" fmla="*/ 613087 w 1733550"/>
                <a:gd name="connsiteY2" fmla="*/ 3077523 h 3086100"/>
                <a:gd name="connsiteX0" fmla="*/ 245654 w 1120463"/>
                <a:gd name="connsiteY0" fmla="*/ 0 h 1525705"/>
                <a:gd name="connsiteX1" fmla="*/ 1120463 w 1120463"/>
                <a:gd name="connsiteY1" fmla="*/ 1525705 h 1525705"/>
                <a:gd name="connsiteX2" fmla="*/ 0 w 1120463"/>
                <a:gd name="connsiteY2" fmla="*/ 1517128 h 1525705"/>
                <a:gd name="connsiteX0" fmla="*/ 811167 w 1120463"/>
                <a:gd name="connsiteY0" fmla="*/ 0 h 1211531"/>
                <a:gd name="connsiteX1" fmla="*/ 1120463 w 1120463"/>
                <a:gd name="connsiteY1" fmla="*/ 1211531 h 1211531"/>
                <a:gd name="connsiteX2" fmla="*/ 0 w 1120463"/>
                <a:gd name="connsiteY2" fmla="*/ 1202954 h 1211531"/>
                <a:gd name="connsiteX0" fmla="*/ 874002 w 1183298"/>
                <a:gd name="connsiteY0" fmla="*/ 0 h 1213426"/>
                <a:gd name="connsiteX1" fmla="*/ 1183298 w 1183298"/>
                <a:gd name="connsiteY1" fmla="*/ 1211531 h 1213426"/>
                <a:gd name="connsiteX2" fmla="*/ 0 w 1183298"/>
                <a:gd name="connsiteY2" fmla="*/ 1213426 h 1213426"/>
                <a:gd name="connsiteX0" fmla="*/ 857693 w 1166989"/>
                <a:gd name="connsiteY0" fmla="*/ 0 h 1213426"/>
                <a:gd name="connsiteX1" fmla="*/ 1166989 w 1166989"/>
                <a:gd name="connsiteY1" fmla="*/ 1211531 h 1213426"/>
                <a:gd name="connsiteX2" fmla="*/ 0 w 1166989"/>
                <a:gd name="connsiteY2" fmla="*/ 1213426 h 1213426"/>
                <a:gd name="connsiteX0" fmla="*/ 1062735 w 1166989"/>
                <a:gd name="connsiteY0" fmla="*/ 0 h 857667"/>
                <a:gd name="connsiteX1" fmla="*/ 1166989 w 1166989"/>
                <a:gd name="connsiteY1" fmla="*/ 855772 h 857667"/>
                <a:gd name="connsiteX2" fmla="*/ 0 w 1166989"/>
                <a:gd name="connsiteY2" fmla="*/ 857667 h 857667"/>
                <a:gd name="connsiteX0" fmla="*/ 1037104 w 1166989"/>
                <a:gd name="connsiteY0" fmla="*/ 0 h 928818"/>
                <a:gd name="connsiteX1" fmla="*/ 1166989 w 1166989"/>
                <a:gd name="connsiteY1" fmla="*/ 926923 h 928818"/>
                <a:gd name="connsiteX2" fmla="*/ 0 w 1166989"/>
                <a:gd name="connsiteY2" fmla="*/ 928818 h 928818"/>
                <a:gd name="connsiteX0" fmla="*/ 1037104 w 1037104"/>
                <a:gd name="connsiteY0" fmla="*/ 0 h 962499"/>
                <a:gd name="connsiteX1" fmla="*/ 791077 w 1037104"/>
                <a:gd name="connsiteY1" fmla="*/ 962499 h 962499"/>
                <a:gd name="connsiteX2" fmla="*/ 0 w 1037104"/>
                <a:gd name="connsiteY2" fmla="*/ 928818 h 962499"/>
                <a:gd name="connsiteX0" fmla="*/ 1037104 w 1037104"/>
                <a:gd name="connsiteY0" fmla="*/ 0 h 962499"/>
                <a:gd name="connsiteX1" fmla="*/ 791077 w 1037104"/>
                <a:gd name="connsiteY1" fmla="*/ 962499 h 962499"/>
                <a:gd name="connsiteX2" fmla="*/ 0 w 1037104"/>
                <a:gd name="connsiteY2" fmla="*/ 955031 h 962499"/>
                <a:gd name="connsiteX0" fmla="*/ 1046547 w 1046547"/>
                <a:gd name="connsiteY0" fmla="*/ 0 h 949391"/>
                <a:gd name="connsiteX1" fmla="*/ 791077 w 1046547"/>
                <a:gd name="connsiteY1" fmla="*/ 949391 h 949391"/>
                <a:gd name="connsiteX2" fmla="*/ 0 w 1046547"/>
                <a:gd name="connsiteY2" fmla="*/ 941923 h 949391"/>
              </a:gdLst>
              <a:ahLst/>
              <a:cxnLst>
                <a:cxn ang="0">
                  <a:pos x="connsiteX0" y="connsiteY0"/>
                </a:cxn>
                <a:cxn ang="0">
                  <a:pos x="connsiteX1" y="connsiteY1"/>
                </a:cxn>
                <a:cxn ang="0">
                  <a:pos x="connsiteX2" y="connsiteY2"/>
                </a:cxn>
              </a:cxnLst>
              <a:rect l="l" t="t" r="r" b="b"/>
              <a:pathLst>
                <a:path w="1046547" h="949391">
                  <a:moveTo>
                    <a:pt x="1046547" y="0"/>
                  </a:moveTo>
                  <a:lnTo>
                    <a:pt x="791077" y="949391"/>
                  </a:lnTo>
                  <a:lnTo>
                    <a:pt x="0" y="941923"/>
                  </a:lnTo>
                </a:path>
              </a:pathLst>
            </a:custGeom>
            <a:gradFill>
              <a:gsLst>
                <a:gs pos="35000">
                  <a:srgbClr val="6CC04A"/>
                </a:gs>
                <a:gs pos="100000">
                  <a:schemeClr val="bg2">
                    <a:lumMod val="60000"/>
                    <a:lumOff val="4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grpSp>
      <p:sp>
        <p:nvSpPr>
          <p:cNvPr id="21" name="Rectangle 6">
            <a:extLst>
              <a:ext uri="{FF2B5EF4-FFF2-40B4-BE49-F238E27FC236}">
                <a16:creationId xmlns:a16="http://schemas.microsoft.com/office/drawing/2014/main" id="{EA6B56CA-A150-4C6B-92A5-F88F095E4EBA}"/>
              </a:ext>
            </a:extLst>
          </p:cNvPr>
          <p:cNvSpPr txBox="1">
            <a:spLocks noChangeArrowheads="1"/>
          </p:cNvSpPr>
          <p:nvPr userDrawn="1"/>
        </p:nvSpPr>
        <p:spPr bwMode="ltGray">
          <a:xfrm>
            <a:off x="11567159" y="6679711"/>
            <a:ext cx="452825" cy="12311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914400" eaLnBrk="0" fontAlgn="base" latinLnBrk="0" hangingPunct="0">
              <a:lnSpc>
                <a:spcPct val="100000"/>
              </a:lnSpc>
              <a:spcBef>
                <a:spcPct val="0"/>
              </a:spcBef>
              <a:spcAft>
                <a:spcPct val="0"/>
              </a:spcAft>
              <a:buClrTx/>
              <a:buSzTx/>
              <a:buFontTx/>
              <a:buNone/>
              <a:tabLst/>
              <a:defRPr/>
            </a:pPr>
            <a:fld id="{8D7874BA-B114-4D1F-A449-70AD1C45E88A}" type="slidenum">
              <a:rPr kumimoji="0" lang="en-US" sz="800" b="0" i="0" u="none" strike="noStrike" kern="0" cap="none" spc="0" normalizeH="0" baseline="0" noProof="0" smtClean="0">
                <a:ln>
                  <a:noFill/>
                </a:ln>
                <a:solidFill>
                  <a:schemeClr val="bg2">
                    <a:lumMod val="20000"/>
                    <a:lumOff val="80000"/>
                  </a:schemeClr>
                </a:solidFill>
                <a:effectLst/>
                <a:uLnTx/>
                <a:uFillTx/>
                <a:ea typeface="MS PGothic" pitchFamily="34" charset="-128"/>
              </a:rPr>
              <a:pPr marL="0" marR="0" lvl="0" indent="0" algn="r" defTabSz="914400" eaLnBrk="0" fontAlgn="base" latinLnBrk="0" hangingPunct="0">
                <a:lnSpc>
                  <a:spcPct val="100000"/>
                </a:lnSpc>
                <a:spcBef>
                  <a:spcPct val="0"/>
                </a:spcBef>
                <a:spcAft>
                  <a:spcPct val="0"/>
                </a:spcAft>
                <a:buClrTx/>
                <a:buSzTx/>
                <a:buFontTx/>
                <a:buNone/>
                <a:tabLst/>
                <a:defRPr/>
              </a:pPr>
              <a:t>‹#›</a:t>
            </a:fld>
            <a:endParaRPr kumimoji="0" lang="en-US" sz="800" b="0" i="0" u="none" strike="noStrike" kern="0" cap="none" spc="0" normalizeH="0" baseline="0" noProof="0" dirty="0">
              <a:ln>
                <a:noFill/>
              </a:ln>
              <a:solidFill>
                <a:schemeClr val="bg2">
                  <a:lumMod val="20000"/>
                  <a:lumOff val="80000"/>
                </a:schemeClr>
              </a:solidFill>
              <a:effectLst/>
              <a:uLnTx/>
              <a:uFillTx/>
              <a:ea typeface="MS PGothic" pitchFamily="34" charset="-128"/>
            </a:endParaRPr>
          </a:p>
        </p:txBody>
      </p:sp>
    </p:spTree>
    <p:extLst>
      <p:ext uri="{BB962C8B-B14F-4D97-AF65-F5344CB8AC3E}">
        <p14:creationId xmlns:p14="http://schemas.microsoft.com/office/powerpoint/2010/main" val="3346020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mp; 2 Images">
    <p:spTree>
      <p:nvGrpSpPr>
        <p:cNvPr id="1" name=""/>
        <p:cNvGrpSpPr/>
        <p:nvPr/>
      </p:nvGrpSpPr>
      <p:grpSpPr>
        <a:xfrm>
          <a:off x="0" y="0"/>
          <a:ext cx="0" cy="0"/>
          <a:chOff x="0" y="0"/>
          <a:chExt cx="0" cy="0"/>
        </a:xfrm>
      </p:grpSpPr>
      <p:sp>
        <p:nvSpPr>
          <p:cNvPr id="22" name="Text Placeholder 21">
            <a:extLst>
              <a:ext uri="{FF2B5EF4-FFF2-40B4-BE49-F238E27FC236}">
                <a16:creationId xmlns:a16="http://schemas.microsoft.com/office/drawing/2014/main" id="{A5417A66-28C9-4F74-8725-ED614CCC78BC}"/>
              </a:ext>
            </a:extLst>
          </p:cNvPr>
          <p:cNvSpPr>
            <a:spLocks noGrp="1"/>
          </p:cNvSpPr>
          <p:nvPr>
            <p:ph type="body" sz="quarter" idx="44" hasCustomPrompt="1"/>
          </p:nvPr>
        </p:nvSpPr>
        <p:spPr>
          <a:xfrm>
            <a:off x="6448424" y="2267712"/>
            <a:ext cx="5120640" cy="347472"/>
          </a:xfrm>
        </p:spPr>
        <p:txBody>
          <a:bodyPr/>
          <a:lstStyle>
            <a:lvl1pPr marL="0" indent="0" algn="ctr">
              <a:buNone/>
              <a:defRPr b="1"/>
            </a:lvl1pPr>
          </a:lstStyle>
          <a:p>
            <a:pPr lvl="0"/>
            <a:r>
              <a:rPr lang="en-US" dirty="0"/>
              <a:t>Add Title </a:t>
            </a:r>
          </a:p>
        </p:txBody>
      </p:sp>
      <p:sp>
        <p:nvSpPr>
          <p:cNvPr id="5" name="Text Placeholder 4">
            <a:extLst>
              <a:ext uri="{FF2B5EF4-FFF2-40B4-BE49-F238E27FC236}">
                <a16:creationId xmlns:a16="http://schemas.microsoft.com/office/drawing/2014/main" id="{BC71067A-153F-402A-9705-FE6682164957}"/>
              </a:ext>
            </a:extLst>
          </p:cNvPr>
          <p:cNvSpPr>
            <a:spLocks noGrp="1"/>
          </p:cNvSpPr>
          <p:nvPr>
            <p:ph type="body" sz="quarter" idx="43" hasCustomPrompt="1"/>
          </p:nvPr>
        </p:nvSpPr>
        <p:spPr>
          <a:xfrm>
            <a:off x="868362" y="2267712"/>
            <a:ext cx="5120640" cy="347472"/>
          </a:xfrm>
        </p:spPr>
        <p:txBody>
          <a:bodyPr/>
          <a:lstStyle>
            <a:lvl1pPr marL="0" indent="0" algn="ctr">
              <a:buNone/>
              <a:defRPr b="1">
                <a:solidFill>
                  <a:schemeClr val="tx1"/>
                </a:solidFill>
              </a:defRPr>
            </a:lvl1pPr>
          </a:lstStyle>
          <a:p>
            <a:pPr lvl="0"/>
            <a:r>
              <a:rPr lang="en-US" dirty="0"/>
              <a:t>Add Title</a:t>
            </a:r>
          </a:p>
        </p:txBody>
      </p:sp>
      <p:sp>
        <p:nvSpPr>
          <p:cNvPr id="15" name="Picture Placeholder 9">
            <a:extLst>
              <a:ext uri="{FF2B5EF4-FFF2-40B4-BE49-F238E27FC236}">
                <a16:creationId xmlns:a16="http://schemas.microsoft.com/office/drawing/2014/main" id="{992F3403-9E0E-4B63-A839-BDA384B8E3CD}"/>
              </a:ext>
            </a:extLst>
          </p:cNvPr>
          <p:cNvSpPr>
            <a:spLocks noGrp="1"/>
          </p:cNvSpPr>
          <p:nvPr>
            <p:ph type="pic" sz="quarter" idx="20" hasCustomPrompt="1"/>
          </p:nvPr>
        </p:nvSpPr>
        <p:spPr>
          <a:xfrm>
            <a:off x="6448291" y="2733199"/>
            <a:ext cx="5120640" cy="2812017"/>
          </a:xfrm>
          <a:prstGeom prst="rect">
            <a:avLst/>
          </a:prstGeom>
          <a:ln w="9525">
            <a:solidFill>
              <a:schemeClr val="bg2"/>
            </a:solidFill>
          </a:ln>
        </p:spPr>
        <p:style>
          <a:lnRef idx="1">
            <a:schemeClr val="accent1"/>
          </a:lnRef>
          <a:fillRef idx="0">
            <a:schemeClr val="accent1"/>
          </a:fillRef>
          <a:effectRef idx="0">
            <a:schemeClr val="accent1"/>
          </a:effectRef>
          <a:fontRef idx="minor">
            <a:schemeClr val="tx1"/>
          </a:fontRef>
        </p:style>
        <p:txBody>
          <a:bodyPr vert="horz" lIns="0" tIns="0" rIns="0" bIns="548640" rtlCol="0" anchor="ctr">
            <a:noAutofit/>
          </a:bodyPr>
          <a:lstStyle>
            <a:lvl1pPr marL="0" indent="0" algn="ctr">
              <a:buFontTx/>
              <a:buNone/>
              <a:defRPr lang="en-US" sz="1000" b="0" baseline="0">
                <a:solidFill>
                  <a:schemeClr val="accent5"/>
                </a:solidFill>
                <a:effectLst/>
                <a:ea typeface="+mj-ea"/>
                <a:cs typeface="Arial" pitchFamily="34" charset="0"/>
              </a:defRPr>
            </a:lvl1pPr>
          </a:lstStyle>
          <a:p>
            <a:r>
              <a:rPr lang="en-US" dirty="0"/>
              <a:t>Click picture icon to add image</a:t>
            </a:r>
          </a:p>
        </p:txBody>
      </p:sp>
      <p:sp>
        <p:nvSpPr>
          <p:cNvPr id="8" name="Picture Placeholder 2">
            <a:extLst>
              <a:ext uri="{FF2B5EF4-FFF2-40B4-BE49-F238E27FC236}">
                <a16:creationId xmlns:a16="http://schemas.microsoft.com/office/drawing/2014/main" id="{2BD43F86-E489-4FF1-B499-7BF132B537E4}"/>
              </a:ext>
            </a:extLst>
          </p:cNvPr>
          <p:cNvSpPr>
            <a:spLocks noGrp="1"/>
          </p:cNvSpPr>
          <p:nvPr>
            <p:ph type="pic" idx="14" hasCustomPrompt="1"/>
          </p:nvPr>
        </p:nvSpPr>
        <p:spPr>
          <a:xfrm>
            <a:off x="868491" y="2733198"/>
            <a:ext cx="5120640" cy="2818946"/>
          </a:xfrm>
          <a:prstGeom prst="rect">
            <a:avLst/>
          </a:prstGeom>
          <a:ln w="9525">
            <a:solidFill>
              <a:schemeClr val="bg2"/>
            </a:solidFill>
          </a:ln>
        </p:spPr>
        <p:style>
          <a:lnRef idx="1">
            <a:schemeClr val="accent1"/>
          </a:lnRef>
          <a:fillRef idx="0">
            <a:schemeClr val="accent1"/>
          </a:fillRef>
          <a:effectRef idx="0">
            <a:schemeClr val="accent1"/>
          </a:effectRef>
          <a:fontRef idx="minor">
            <a:schemeClr val="tx1"/>
          </a:fontRef>
        </p:style>
        <p:txBody>
          <a:bodyPr vert="horz" lIns="0" tIns="0" rIns="0" bIns="548640" rtlCol="0" anchor="ctr">
            <a:noAutofit/>
          </a:bodyPr>
          <a:lstStyle>
            <a:lvl1pPr marL="0" indent="0" algn="ctr">
              <a:buFontTx/>
              <a:buNone/>
              <a:defRPr lang="ko-KR" altLang="en-US" sz="1000" baseline="0" dirty="0">
                <a:solidFill>
                  <a:schemeClr val="accent5"/>
                </a:solidFill>
                <a:effectLst/>
                <a:ea typeface="+mj-ea"/>
                <a:cs typeface="Arial" pitchFamily="34" charset="0"/>
              </a:defRPr>
            </a:lvl1pPr>
          </a:lstStyle>
          <a:p>
            <a:r>
              <a:rPr lang="en-US" dirty="0"/>
              <a:t>Click picture icon to add image</a:t>
            </a:r>
          </a:p>
        </p:txBody>
      </p:sp>
      <p:sp>
        <p:nvSpPr>
          <p:cNvPr id="4" name="Text Placeholder 3">
            <a:extLst>
              <a:ext uri="{FF2B5EF4-FFF2-40B4-BE49-F238E27FC236}">
                <a16:creationId xmlns:a16="http://schemas.microsoft.com/office/drawing/2014/main" id="{A25A81C6-E459-47F8-BE7E-E79BDF03FDEA}"/>
              </a:ext>
            </a:extLst>
          </p:cNvPr>
          <p:cNvSpPr>
            <a:spLocks noGrp="1"/>
          </p:cNvSpPr>
          <p:nvPr>
            <p:ph type="body" sz="quarter" idx="15" hasCustomPrompt="1"/>
          </p:nvPr>
        </p:nvSpPr>
        <p:spPr>
          <a:xfrm>
            <a:off x="868491" y="5726510"/>
            <a:ext cx="5120640" cy="276999"/>
          </a:xfrm>
        </p:spPr>
        <p:txBody>
          <a:bodyPr anchor="t" anchorCtr="0">
            <a:spAutoFit/>
          </a:bodyPr>
          <a:lstStyle>
            <a:lvl1pPr marL="0" indent="0" algn="ctr">
              <a:spcBef>
                <a:spcPts val="600"/>
              </a:spcBef>
              <a:buFontTx/>
              <a:buNone/>
              <a:defRPr sz="2000"/>
            </a:lvl1pPr>
          </a:lstStyle>
          <a:p>
            <a:pPr lvl="0"/>
            <a:r>
              <a:rPr lang="en-US" dirty="0"/>
              <a:t>Add text</a:t>
            </a:r>
          </a:p>
        </p:txBody>
      </p:sp>
      <p:sp>
        <p:nvSpPr>
          <p:cNvPr id="13" name="Text Placeholder 12">
            <a:extLst>
              <a:ext uri="{FF2B5EF4-FFF2-40B4-BE49-F238E27FC236}">
                <a16:creationId xmlns:a16="http://schemas.microsoft.com/office/drawing/2014/main" id="{A63526DB-9535-4082-B91B-6B7BAEA14DD3}"/>
              </a:ext>
            </a:extLst>
          </p:cNvPr>
          <p:cNvSpPr>
            <a:spLocks noGrp="1"/>
          </p:cNvSpPr>
          <p:nvPr>
            <p:ph type="body" sz="quarter" idx="25" hasCustomPrompt="1"/>
          </p:nvPr>
        </p:nvSpPr>
        <p:spPr>
          <a:xfrm>
            <a:off x="6448291" y="5726510"/>
            <a:ext cx="5120640" cy="276999"/>
          </a:xfrm>
        </p:spPr>
        <p:txBody>
          <a:bodyPr anchor="t" anchorCtr="0">
            <a:spAutoFit/>
          </a:bodyPr>
          <a:lstStyle>
            <a:lvl1pPr marL="0" indent="0" algn="ctr">
              <a:spcBef>
                <a:spcPts val="600"/>
              </a:spcBef>
              <a:buFontTx/>
              <a:buNone/>
              <a:defRPr sz="2000"/>
            </a:lvl1pPr>
          </a:lstStyle>
          <a:p>
            <a:pPr lvl="0"/>
            <a:r>
              <a:rPr lang="en-US" dirty="0"/>
              <a:t>Add text</a:t>
            </a:r>
          </a:p>
        </p:txBody>
      </p:sp>
      <p:sp>
        <p:nvSpPr>
          <p:cNvPr id="9" name="Rectangle 8">
            <a:extLst>
              <a:ext uri="{FF2B5EF4-FFF2-40B4-BE49-F238E27FC236}">
                <a16:creationId xmlns:a16="http://schemas.microsoft.com/office/drawing/2014/main" id="{0A4810EA-6AC4-42A0-98B5-8E13D873B935}"/>
              </a:ext>
            </a:extLst>
          </p:cNvPr>
          <p:cNvSpPr/>
          <p:nvPr userDrawn="1"/>
        </p:nvSpPr>
        <p:spPr>
          <a:xfrm>
            <a:off x="0" y="2733198"/>
            <a:ext cx="521970" cy="28189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dirty="0">
              <a:solidFill>
                <a:schemeClr val="accent3"/>
              </a:solidFill>
            </a:endParaRPr>
          </a:p>
        </p:txBody>
      </p:sp>
      <p:sp>
        <p:nvSpPr>
          <p:cNvPr id="3" name="Title 2">
            <a:extLst>
              <a:ext uri="{FF2B5EF4-FFF2-40B4-BE49-F238E27FC236}">
                <a16:creationId xmlns:a16="http://schemas.microsoft.com/office/drawing/2014/main" id="{A1ACC0E3-5E84-4BB5-8DA2-7D1265BD1860}"/>
              </a:ext>
            </a:extLst>
          </p:cNvPr>
          <p:cNvSpPr>
            <a:spLocks noGrp="1"/>
          </p:cNvSpPr>
          <p:nvPr>
            <p:ph type="title" hasCustomPrompt="1"/>
          </p:nvPr>
        </p:nvSpPr>
        <p:spPr/>
        <p:txBody>
          <a:bodyPr/>
          <a:lstStyle>
            <a:lvl1pPr>
              <a:defRPr/>
            </a:lvl1pPr>
          </a:lstStyle>
          <a:p>
            <a:r>
              <a:rPr lang="en-US" dirty="0"/>
              <a:t>add title – keep it brief</a:t>
            </a:r>
          </a:p>
        </p:txBody>
      </p:sp>
      <p:sp>
        <p:nvSpPr>
          <p:cNvPr id="11" name="Text Placeholder 3">
            <a:extLst>
              <a:ext uri="{FF2B5EF4-FFF2-40B4-BE49-F238E27FC236}">
                <a16:creationId xmlns:a16="http://schemas.microsoft.com/office/drawing/2014/main" id="{B036D3AC-79C7-4664-A1E8-BBAF473E80C2}"/>
              </a:ext>
            </a:extLst>
          </p:cNvPr>
          <p:cNvSpPr>
            <a:spLocks noGrp="1"/>
          </p:cNvSpPr>
          <p:nvPr>
            <p:ph type="body" sz="quarter" idx="42" hasCustomPrompt="1"/>
          </p:nvPr>
        </p:nvSpPr>
        <p:spPr>
          <a:xfrm>
            <a:off x="880243" y="1709928"/>
            <a:ext cx="10698480" cy="304699"/>
          </a:xfrm>
          <a:noFill/>
        </p:spPr>
        <p:txBody>
          <a:bodyPr vert="horz" lIns="0" tIns="0" rIns="0" bIns="0" rtlCol="0" anchor="ctr" anchorCtr="0">
            <a:spAutoFit/>
          </a:bodyPr>
          <a:lstStyle>
            <a:lvl1pPr marL="0" indent="0" algn="ctr">
              <a:buFontTx/>
              <a:buNone/>
              <a:defRPr lang="en-US" sz="2200" dirty="0"/>
            </a:lvl1pPr>
          </a:lstStyle>
          <a:p>
            <a:pPr lvl="0"/>
            <a:r>
              <a:rPr lang="en-US" dirty="0"/>
              <a:t>Call out blurb</a:t>
            </a:r>
          </a:p>
        </p:txBody>
      </p:sp>
    </p:spTree>
    <p:extLst>
      <p:ext uri="{BB962C8B-B14F-4D97-AF65-F5344CB8AC3E}">
        <p14:creationId xmlns:p14="http://schemas.microsoft.com/office/powerpoint/2010/main" val="461550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mp; 3 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05A72E-D1F7-4136-939F-889F4228C564}"/>
              </a:ext>
            </a:extLst>
          </p:cNvPr>
          <p:cNvSpPr>
            <a:spLocks noGrp="1"/>
          </p:cNvSpPr>
          <p:nvPr>
            <p:ph type="title" hasCustomPrompt="1"/>
          </p:nvPr>
        </p:nvSpPr>
        <p:spPr/>
        <p:txBody>
          <a:bodyPr/>
          <a:lstStyle/>
          <a:p>
            <a:r>
              <a:rPr lang="en-US" dirty="0"/>
              <a:t>add title – keep it brief</a:t>
            </a:r>
          </a:p>
        </p:txBody>
      </p:sp>
      <p:sp>
        <p:nvSpPr>
          <p:cNvPr id="17" name="Picture Placeholder 2">
            <a:extLst>
              <a:ext uri="{FF2B5EF4-FFF2-40B4-BE49-F238E27FC236}">
                <a16:creationId xmlns:a16="http://schemas.microsoft.com/office/drawing/2014/main" id="{734315CC-5450-4530-9C7C-C6329202BB8A}"/>
              </a:ext>
            </a:extLst>
          </p:cNvPr>
          <p:cNvSpPr>
            <a:spLocks noGrp="1"/>
          </p:cNvSpPr>
          <p:nvPr>
            <p:ph type="pic" idx="14" hasCustomPrompt="1"/>
          </p:nvPr>
        </p:nvSpPr>
        <p:spPr>
          <a:xfrm>
            <a:off x="868491" y="2733197"/>
            <a:ext cx="3291840" cy="2818947"/>
          </a:xfrm>
          <a:prstGeom prst="rect">
            <a:avLst/>
          </a:prstGeom>
          <a:ln w="9525">
            <a:solidFill>
              <a:schemeClr val="bg2"/>
            </a:solidFill>
          </a:ln>
        </p:spPr>
        <p:style>
          <a:lnRef idx="1">
            <a:schemeClr val="accent1"/>
          </a:lnRef>
          <a:fillRef idx="0">
            <a:schemeClr val="accent1"/>
          </a:fillRef>
          <a:effectRef idx="0">
            <a:schemeClr val="accent1"/>
          </a:effectRef>
          <a:fontRef idx="minor">
            <a:schemeClr val="tx1"/>
          </a:fontRef>
        </p:style>
        <p:txBody>
          <a:bodyPr vert="horz" lIns="0" tIns="0" rIns="0" bIns="548640" rtlCol="0" anchor="ctr">
            <a:noAutofit/>
          </a:bodyPr>
          <a:lstStyle>
            <a:lvl1pPr marL="273582" indent="-273582" algn="ctr">
              <a:buFontTx/>
              <a:buNone/>
              <a:defRPr lang="ko-KR" altLang="en-US" sz="1000" baseline="0" dirty="0">
                <a:solidFill>
                  <a:schemeClr val="accent5"/>
                </a:solidFill>
                <a:effectLst/>
                <a:ea typeface="+mj-ea"/>
                <a:cs typeface="Arial" pitchFamily="34" charset="0"/>
              </a:defRPr>
            </a:lvl1pPr>
          </a:lstStyle>
          <a:p>
            <a:r>
              <a:rPr lang="en-US" dirty="0"/>
              <a:t>Click picture icon to add image</a:t>
            </a:r>
          </a:p>
        </p:txBody>
      </p:sp>
      <p:sp>
        <p:nvSpPr>
          <p:cNvPr id="18" name="Text Placeholder 3">
            <a:extLst>
              <a:ext uri="{FF2B5EF4-FFF2-40B4-BE49-F238E27FC236}">
                <a16:creationId xmlns:a16="http://schemas.microsoft.com/office/drawing/2014/main" id="{EB534821-3EEB-4445-9BFD-DB59E8633CDB}"/>
              </a:ext>
            </a:extLst>
          </p:cNvPr>
          <p:cNvSpPr>
            <a:spLocks noGrp="1"/>
          </p:cNvSpPr>
          <p:nvPr>
            <p:ph type="body" sz="quarter" idx="15" hasCustomPrompt="1"/>
          </p:nvPr>
        </p:nvSpPr>
        <p:spPr>
          <a:xfrm>
            <a:off x="868491" y="5726508"/>
            <a:ext cx="3291840" cy="276999"/>
          </a:xfrm>
        </p:spPr>
        <p:txBody>
          <a:bodyPr anchor="t" anchorCtr="0">
            <a:spAutoFit/>
          </a:bodyPr>
          <a:lstStyle>
            <a:lvl1pPr marL="0" indent="0" algn="ctr">
              <a:spcBef>
                <a:spcPts val="600"/>
              </a:spcBef>
              <a:buFontTx/>
              <a:buNone/>
              <a:defRPr sz="2000"/>
            </a:lvl1pPr>
          </a:lstStyle>
          <a:p>
            <a:pPr lvl="0"/>
            <a:r>
              <a:rPr lang="en-US" dirty="0"/>
              <a:t>Add text</a:t>
            </a:r>
          </a:p>
        </p:txBody>
      </p:sp>
      <p:sp>
        <p:nvSpPr>
          <p:cNvPr id="19" name="Text Placeholder 15">
            <a:extLst>
              <a:ext uri="{FF2B5EF4-FFF2-40B4-BE49-F238E27FC236}">
                <a16:creationId xmlns:a16="http://schemas.microsoft.com/office/drawing/2014/main" id="{CC531C6F-4A51-422E-AAD3-66A97107E2E5}"/>
              </a:ext>
            </a:extLst>
          </p:cNvPr>
          <p:cNvSpPr>
            <a:spLocks noGrp="1"/>
          </p:cNvSpPr>
          <p:nvPr>
            <p:ph type="body" sz="quarter" idx="16" hasCustomPrompt="1"/>
          </p:nvPr>
        </p:nvSpPr>
        <p:spPr>
          <a:xfrm>
            <a:off x="868491" y="2262960"/>
            <a:ext cx="3291840" cy="347472"/>
          </a:xfrm>
        </p:spPr>
        <p:txBody>
          <a:bodyPr anchor="ctr" anchorCtr="0"/>
          <a:lstStyle>
            <a:lvl1pPr marL="0" indent="0" algn="ctr">
              <a:lnSpc>
                <a:spcPct val="85000"/>
              </a:lnSpc>
              <a:spcBef>
                <a:spcPts val="0"/>
              </a:spcBef>
              <a:buFontTx/>
              <a:buNone/>
              <a:defRPr sz="2000" b="1">
                <a:solidFill>
                  <a:schemeClr val="tx1"/>
                </a:solidFill>
              </a:defRPr>
            </a:lvl1pPr>
          </a:lstStyle>
          <a:p>
            <a:pPr lvl="0"/>
            <a:r>
              <a:rPr lang="en-US" dirty="0"/>
              <a:t>Add title</a:t>
            </a:r>
          </a:p>
        </p:txBody>
      </p:sp>
      <p:sp>
        <p:nvSpPr>
          <p:cNvPr id="30" name="Picture Placeholder 2">
            <a:extLst>
              <a:ext uri="{FF2B5EF4-FFF2-40B4-BE49-F238E27FC236}">
                <a16:creationId xmlns:a16="http://schemas.microsoft.com/office/drawing/2014/main" id="{6967C944-2E33-48AF-A92E-64B48BAE381C}"/>
              </a:ext>
            </a:extLst>
          </p:cNvPr>
          <p:cNvSpPr>
            <a:spLocks noGrp="1"/>
          </p:cNvSpPr>
          <p:nvPr>
            <p:ph type="pic" idx="17" hasCustomPrompt="1"/>
          </p:nvPr>
        </p:nvSpPr>
        <p:spPr>
          <a:xfrm>
            <a:off x="4568395" y="2733198"/>
            <a:ext cx="3291840" cy="2818947"/>
          </a:xfrm>
          <a:prstGeom prst="rect">
            <a:avLst/>
          </a:prstGeom>
          <a:ln w="9525">
            <a:solidFill>
              <a:schemeClr val="bg2"/>
            </a:solidFill>
          </a:ln>
        </p:spPr>
        <p:style>
          <a:lnRef idx="1">
            <a:schemeClr val="accent1"/>
          </a:lnRef>
          <a:fillRef idx="0">
            <a:schemeClr val="accent1"/>
          </a:fillRef>
          <a:effectRef idx="0">
            <a:schemeClr val="accent1"/>
          </a:effectRef>
          <a:fontRef idx="minor">
            <a:schemeClr val="tx1"/>
          </a:fontRef>
        </p:style>
        <p:txBody>
          <a:bodyPr vert="horz" lIns="0" tIns="0" rIns="0" bIns="548640" rtlCol="0" anchor="ctr">
            <a:noAutofit/>
          </a:bodyPr>
          <a:lstStyle>
            <a:lvl1pPr marL="273582" indent="-273582" algn="ctr">
              <a:buFontTx/>
              <a:buNone/>
              <a:defRPr lang="ko-KR" altLang="en-US" sz="1000" baseline="0" dirty="0">
                <a:solidFill>
                  <a:schemeClr val="accent5"/>
                </a:solidFill>
                <a:effectLst/>
                <a:ea typeface="+mj-ea"/>
                <a:cs typeface="Arial" pitchFamily="34" charset="0"/>
              </a:defRPr>
            </a:lvl1pPr>
          </a:lstStyle>
          <a:p>
            <a:r>
              <a:rPr lang="en-US" dirty="0"/>
              <a:t>Click picture icon to add image</a:t>
            </a:r>
          </a:p>
        </p:txBody>
      </p:sp>
      <p:sp>
        <p:nvSpPr>
          <p:cNvPr id="31" name="Text Placeholder 3">
            <a:extLst>
              <a:ext uri="{FF2B5EF4-FFF2-40B4-BE49-F238E27FC236}">
                <a16:creationId xmlns:a16="http://schemas.microsoft.com/office/drawing/2014/main" id="{E3C1D16A-B36B-4A37-80DC-56B397DB69FA}"/>
              </a:ext>
            </a:extLst>
          </p:cNvPr>
          <p:cNvSpPr>
            <a:spLocks noGrp="1"/>
          </p:cNvSpPr>
          <p:nvPr>
            <p:ph type="body" sz="quarter" idx="18" hasCustomPrompt="1"/>
          </p:nvPr>
        </p:nvSpPr>
        <p:spPr>
          <a:xfrm>
            <a:off x="4568396" y="5726509"/>
            <a:ext cx="3291839" cy="276999"/>
          </a:xfrm>
        </p:spPr>
        <p:txBody>
          <a:bodyPr anchor="t" anchorCtr="0">
            <a:spAutoFit/>
          </a:bodyPr>
          <a:lstStyle>
            <a:lvl1pPr marL="0" indent="0" algn="ctr">
              <a:spcBef>
                <a:spcPts val="600"/>
              </a:spcBef>
              <a:buFontTx/>
              <a:buNone/>
              <a:defRPr sz="2000"/>
            </a:lvl1pPr>
          </a:lstStyle>
          <a:p>
            <a:pPr lvl="0"/>
            <a:r>
              <a:rPr lang="en-US" dirty="0"/>
              <a:t>Add text</a:t>
            </a:r>
          </a:p>
        </p:txBody>
      </p:sp>
      <p:sp>
        <p:nvSpPr>
          <p:cNvPr id="32" name="Text Placeholder 15">
            <a:extLst>
              <a:ext uri="{FF2B5EF4-FFF2-40B4-BE49-F238E27FC236}">
                <a16:creationId xmlns:a16="http://schemas.microsoft.com/office/drawing/2014/main" id="{962DDCE9-BA3F-487A-BE50-C54836969250}"/>
              </a:ext>
            </a:extLst>
          </p:cNvPr>
          <p:cNvSpPr>
            <a:spLocks noGrp="1"/>
          </p:cNvSpPr>
          <p:nvPr>
            <p:ph type="body" sz="quarter" idx="19" hasCustomPrompt="1"/>
          </p:nvPr>
        </p:nvSpPr>
        <p:spPr>
          <a:xfrm>
            <a:off x="4568394" y="2262961"/>
            <a:ext cx="3291841" cy="347472"/>
          </a:xfrm>
        </p:spPr>
        <p:txBody>
          <a:bodyPr anchor="ctr" anchorCtr="0"/>
          <a:lstStyle>
            <a:lvl1pPr marL="0" indent="0" algn="ctr">
              <a:lnSpc>
                <a:spcPct val="85000"/>
              </a:lnSpc>
              <a:spcBef>
                <a:spcPts val="0"/>
              </a:spcBef>
              <a:buFontTx/>
              <a:buNone/>
              <a:defRPr sz="2000" b="1">
                <a:solidFill>
                  <a:schemeClr val="tx1"/>
                </a:solidFill>
              </a:defRPr>
            </a:lvl1pPr>
          </a:lstStyle>
          <a:p>
            <a:pPr lvl="0"/>
            <a:r>
              <a:rPr lang="en-US" dirty="0"/>
              <a:t>Add title</a:t>
            </a:r>
          </a:p>
        </p:txBody>
      </p:sp>
      <p:sp>
        <p:nvSpPr>
          <p:cNvPr id="33" name="Picture Placeholder 2">
            <a:extLst>
              <a:ext uri="{FF2B5EF4-FFF2-40B4-BE49-F238E27FC236}">
                <a16:creationId xmlns:a16="http://schemas.microsoft.com/office/drawing/2014/main" id="{82F5E967-4A83-4253-BD21-C1AF0745354A}"/>
              </a:ext>
            </a:extLst>
          </p:cNvPr>
          <p:cNvSpPr>
            <a:spLocks noGrp="1"/>
          </p:cNvSpPr>
          <p:nvPr>
            <p:ph type="pic" idx="20" hasCustomPrompt="1"/>
          </p:nvPr>
        </p:nvSpPr>
        <p:spPr>
          <a:xfrm>
            <a:off x="8268299" y="2733198"/>
            <a:ext cx="3291840" cy="2818947"/>
          </a:xfrm>
          <a:prstGeom prst="rect">
            <a:avLst/>
          </a:prstGeom>
          <a:ln w="9525">
            <a:solidFill>
              <a:schemeClr val="bg2"/>
            </a:solidFill>
          </a:ln>
        </p:spPr>
        <p:style>
          <a:lnRef idx="1">
            <a:schemeClr val="accent1"/>
          </a:lnRef>
          <a:fillRef idx="0">
            <a:schemeClr val="accent1"/>
          </a:fillRef>
          <a:effectRef idx="0">
            <a:schemeClr val="accent1"/>
          </a:effectRef>
          <a:fontRef idx="minor">
            <a:schemeClr val="tx1"/>
          </a:fontRef>
        </p:style>
        <p:txBody>
          <a:bodyPr vert="horz" lIns="0" tIns="0" rIns="0" bIns="548640" rtlCol="0" anchor="ctr">
            <a:noAutofit/>
          </a:bodyPr>
          <a:lstStyle>
            <a:lvl1pPr marL="273582" indent="-273582" algn="ctr">
              <a:buFontTx/>
              <a:buNone/>
              <a:defRPr lang="ko-KR" altLang="en-US" sz="1000" baseline="0" dirty="0">
                <a:solidFill>
                  <a:schemeClr val="accent5"/>
                </a:solidFill>
                <a:effectLst/>
                <a:ea typeface="+mj-ea"/>
                <a:cs typeface="Arial" pitchFamily="34" charset="0"/>
              </a:defRPr>
            </a:lvl1pPr>
          </a:lstStyle>
          <a:p>
            <a:r>
              <a:rPr lang="en-US" dirty="0"/>
              <a:t>Click picture icon to add image</a:t>
            </a:r>
          </a:p>
        </p:txBody>
      </p:sp>
      <p:sp>
        <p:nvSpPr>
          <p:cNvPr id="34" name="Text Placeholder 3">
            <a:extLst>
              <a:ext uri="{FF2B5EF4-FFF2-40B4-BE49-F238E27FC236}">
                <a16:creationId xmlns:a16="http://schemas.microsoft.com/office/drawing/2014/main" id="{75B09AD7-1999-496D-94CA-E2EF33498E38}"/>
              </a:ext>
            </a:extLst>
          </p:cNvPr>
          <p:cNvSpPr>
            <a:spLocks noGrp="1"/>
          </p:cNvSpPr>
          <p:nvPr>
            <p:ph type="body" sz="quarter" idx="21" hasCustomPrompt="1"/>
          </p:nvPr>
        </p:nvSpPr>
        <p:spPr>
          <a:xfrm>
            <a:off x="8268300" y="5726509"/>
            <a:ext cx="3291839" cy="276999"/>
          </a:xfrm>
        </p:spPr>
        <p:txBody>
          <a:bodyPr anchor="t" anchorCtr="0">
            <a:spAutoFit/>
          </a:bodyPr>
          <a:lstStyle>
            <a:lvl1pPr marL="0" indent="0" algn="ctr">
              <a:spcBef>
                <a:spcPts val="600"/>
              </a:spcBef>
              <a:buFontTx/>
              <a:buNone/>
              <a:defRPr sz="2000"/>
            </a:lvl1pPr>
          </a:lstStyle>
          <a:p>
            <a:pPr lvl="0"/>
            <a:r>
              <a:rPr lang="en-US" dirty="0"/>
              <a:t>Add text</a:t>
            </a:r>
          </a:p>
        </p:txBody>
      </p:sp>
      <p:sp>
        <p:nvSpPr>
          <p:cNvPr id="35" name="Text Placeholder 15">
            <a:extLst>
              <a:ext uri="{FF2B5EF4-FFF2-40B4-BE49-F238E27FC236}">
                <a16:creationId xmlns:a16="http://schemas.microsoft.com/office/drawing/2014/main" id="{EBE0EF1C-084A-4014-B7CE-5126CE9333B6}"/>
              </a:ext>
            </a:extLst>
          </p:cNvPr>
          <p:cNvSpPr>
            <a:spLocks noGrp="1"/>
          </p:cNvSpPr>
          <p:nvPr>
            <p:ph type="body" sz="quarter" idx="22" hasCustomPrompt="1"/>
          </p:nvPr>
        </p:nvSpPr>
        <p:spPr>
          <a:xfrm>
            <a:off x="8268299" y="2262961"/>
            <a:ext cx="3291840" cy="347472"/>
          </a:xfrm>
        </p:spPr>
        <p:txBody>
          <a:bodyPr anchor="ctr" anchorCtr="0"/>
          <a:lstStyle>
            <a:lvl1pPr marL="0" indent="0" algn="ctr">
              <a:lnSpc>
                <a:spcPct val="85000"/>
              </a:lnSpc>
              <a:spcBef>
                <a:spcPts val="0"/>
              </a:spcBef>
              <a:buFontTx/>
              <a:buNone/>
              <a:defRPr sz="2000" b="1">
                <a:solidFill>
                  <a:schemeClr val="tx1"/>
                </a:solidFill>
              </a:defRPr>
            </a:lvl1pPr>
          </a:lstStyle>
          <a:p>
            <a:pPr lvl="0"/>
            <a:r>
              <a:rPr lang="en-US" dirty="0"/>
              <a:t>Add title</a:t>
            </a:r>
          </a:p>
        </p:txBody>
      </p:sp>
      <p:sp>
        <p:nvSpPr>
          <p:cNvPr id="20" name="Text Placeholder 3">
            <a:extLst>
              <a:ext uri="{FF2B5EF4-FFF2-40B4-BE49-F238E27FC236}">
                <a16:creationId xmlns:a16="http://schemas.microsoft.com/office/drawing/2014/main" id="{D3814C0C-404A-4CB0-97DE-88DAC91C9F18}"/>
              </a:ext>
            </a:extLst>
          </p:cNvPr>
          <p:cNvSpPr>
            <a:spLocks noGrp="1"/>
          </p:cNvSpPr>
          <p:nvPr>
            <p:ph type="body" sz="quarter" idx="42" hasCustomPrompt="1"/>
          </p:nvPr>
        </p:nvSpPr>
        <p:spPr>
          <a:xfrm>
            <a:off x="880243" y="1709928"/>
            <a:ext cx="10698480" cy="304699"/>
          </a:xfrm>
          <a:noFill/>
        </p:spPr>
        <p:txBody>
          <a:bodyPr vert="horz" lIns="0" tIns="0" rIns="0" bIns="0" rtlCol="0" anchor="ctr" anchorCtr="0">
            <a:spAutoFit/>
          </a:bodyPr>
          <a:lstStyle>
            <a:lvl1pPr marL="0" indent="0" algn="ctr">
              <a:buFontTx/>
              <a:buNone/>
              <a:defRPr lang="en-US" sz="2200" dirty="0"/>
            </a:lvl1pPr>
          </a:lstStyle>
          <a:p>
            <a:pPr lvl="0"/>
            <a:r>
              <a:rPr lang="en-US" dirty="0"/>
              <a:t>Call out blurb</a:t>
            </a:r>
          </a:p>
        </p:txBody>
      </p:sp>
      <p:sp>
        <p:nvSpPr>
          <p:cNvPr id="23" name="Rectangle 22">
            <a:extLst>
              <a:ext uri="{FF2B5EF4-FFF2-40B4-BE49-F238E27FC236}">
                <a16:creationId xmlns:a16="http://schemas.microsoft.com/office/drawing/2014/main" id="{AB871635-60AD-42B6-916B-AB696FC21C48}"/>
              </a:ext>
            </a:extLst>
          </p:cNvPr>
          <p:cNvSpPr/>
          <p:nvPr userDrawn="1"/>
        </p:nvSpPr>
        <p:spPr>
          <a:xfrm>
            <a:off x="0" y="2733198"/>
            <a:ext cx="521970" cy="28189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dirty="0">
              <a:solidFill>
                <a:schemeClr val="accent3"/>
              </a:solidFill>
            </a:endParaRPr>
          </a:p>
        </p:txBody>
      </p:sp>
    </p:spTree>
    <p:extLst>
      <p:ext uri="{BB962C8B-B14F-4D97-AF65-F5344CB8AC3E}">
        <p14:creationId xmlns:p14="http://schemas.microsoft.com/office/powerpoint/2010/main" val="11428106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mp; 4 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05A72E-D1F7-4136-939F-889F4228C564}"/>
              </a:ext>
            </a:extLst>
          </p:cNvPr>
          <p:cNvSpPr>
            <a:spLocks noGrp="1"/>
          </p:cNvSpPr>
          <p:nvPr>
            <p:ph type="title" hasCustomPrompt="1"/>
          </p:nvPr>
        </p:nvSpPr>
        <p:spPr/>
        <p:txBody>
          <a:bodyPr/>
          <a:lstStyle/>
          <a:p>
            <a:r>
              <a:rPr lang="en-US" dirty="0"/>
              <a:t>add title – keep it brief</a:t>
            </a:r>
          </a:p>
        </p:txBody>
      </p:sp>
      <p:sp>
        <p:nvSpPr>
          <p:cNvPr id="19" name="Picture Placeholder 2">
            <a:extLst>
              <a:ext uri="{FF2B5EF4-FFF2-40B4-BE49-F238E27FC236}">
                <a16:creationId xmlns:a16="http://schemas.microsoft.com/office/drawing/2014/main" id="{D08697A9-763D-4101-A629-B8C464587CD1}"/>
              </a:ext>
            </a:extLst>
          </p:cNvPr>
          <p:cNvSpPr>
            <a:spLocks noGrp="1"/>
          </p:cNvSpPr>
          <p:nvPr>
            <p:ph type="pic" idx="14" hasCustomPrompt="1"/>
          </p:nvPr>
        </p:nvSpPr>
        <p:spPr>
          <a:xfrm>
            <a:off x="868491" y="2733197"/>
            <a:ext cx="2331720" cy="2818947"/>
          </a:xfrm>
          <a:prstGeom prst="rect">
            <a:avLst/>
          </a:prstGeom>
          <a:ln w="9525">
            <a:solidFill>
              <a:schemeClr val="bg2"/>
            </a:solidFill>
          </a:ln>
        </p:spPr>
        <p:style>
          <a:lnRef idx="1">
            <a:schemeClr val="accent1"/>
          </a:lnRef>
          <a:fillRef idx="0">
            <a:schemeClr val="accent1"/>
          </a:fillRef>
          <a:effectRef idx="0">
            <a:schemeClr val="accent1"/>
          </a:effectRef>
          <a:fontRef idx="minor">
            <a:schemeClr val="tx1"/>
          </a:fontRef>
        </p:style>
        <p:txBody>
          <a:bodyPr vert="horz" lIns="0" tIns="0" rIns="0" bIns="548640" rtlCol="0" anchor="ctr">
            <a:noAutofit/>
          </a:bodyPr>
          <a:lstStyle>
            <a:lvl1pPr marL="273582" indent="-273582" algn="ctr">
              <a:buFontTx/>
              <a:buNone/>
              <a:defRPr lang="ko-KR" altLang="en-US" sz="1000" baseline="0" dirty="0">
                <a:solidFill>
                  <a:schemeClr val="accent5"/>
                </a:solidFill>
                <a:effectLst/>
                <a:ea typeface="+mj-ea"/>
                <a:cs typeface="Arial" pitchFamily="34" charset="0"/>
              </a:defRPr>
            </a:lvl1pPr>
          </a:lstStyle>
          <a:p>
            <a:r>
              <a:rPr lang="en-US" dirty="0"/>
              <a:t>Click picture icon to add image</a:t>
            </a:r>
          </a:p>
        </p:txBody>
      </p:sp>
      <p:sp>
        <p:nvSpPr>
          <p:cNvPr id="20" name="Text Placeholder 3">
            <a:extLst>
              <a:ext uri="{FF2B5EF4-FFF2-40B4-BE49-F238E27FC236}">
                <a16:creationId xmlns:a16="http://schemas.microsoft.com/office/drawing/2014/main" id="{C0A40696-8BDA-4467-A948-8FDEE7B2B086}"/>
              </a:ext>
            </a:extLst>
          </p:cNvPr>
          <p:cNvSpPr>
            <a:spLocks noGrp="1"/>
          </p:cNvSpPr>
          <p:nvPr>
            <p:ph type="body" sz="quarter" idx="15" hasCustomPrompt="1"/>
          </p:nvPr>
        </p:nvSpPr>
        <p:spPr>
          <a:xfrm>
            <a:off x="868491" y="5726508"/>
            <a:ext cx="2331718" cy="276999"/>
          </a:xfrm>
        </p:spPr>
        <p:txBody>
          <a:bodyPr anchor="t" anchorCtr="0">
            <a:spAutoFit/>
          </a:bodyPr>
          <a:lstStyle>
            <a:lvl1pPr marL="0" indent="0" algn="ctr">
              <a:spcBef>
                <a:spcPts val="600"/>
              </a:spcBef>
              <a:buFontTx/>
              <a:buNone/>
              <a:defRPr sz="2000"/>
            </a:lvl1pPr>
          </a:lstStyle>
          <a:p>
            <a:pPr lvl="0"/>
            <a:r>
              <a:rPr lang="en-US" dirty="0"/>
              <a:t>Add text</a:t>
            </a:r>
          </a:p>
        </p:txBody>
      </p:sp>
      <p:sp>
        <p:nvSpPr>
          <p:cNvPr id="21" name="Text Placeholder 15">
            <a:extLst>
              <a:ext uri="{FF2B5EF4-FFF2-40B4-BE49-F238E27FC236}">
                <a16:creationId xmlns:a16="http://schemas.microsoft.com/office/drawing/2014/main" id="{45834AD1-67C6-4B52-9C1C-9CDC6E8FEDA2}"/>
              </a:ext>
            </a:extLst>
          </p:cNvPr>
          <p:cNvSpPr>
            <a:spLocks noGrp="1"/>
          </p:cNvSpPr>
          <p:nvPr>
            <p:ph type="body" sz="quarter" idx="16" hasCustomPrompt="1"/>
          </p:nvPr>
        </p:nvSpPr>
        <p:spPr>
          <a:xfrm>
            <a:off x="880243" y="2262961"/>
            <a:ext cx="2319968" cy="347472"/>
          </a:xfrm>
        </p:spPr>
        <p:txBody>
          <a:bodyPr anchor="ctr" anchorCtr="0"/>
          <a:lstStyle>
            <a:lvl1pPr marL="0" indent="0" algn="ctr">
              <a:lnSpc>
                <a:spcPct val="85000"/>
              </a:lnSpc>
              <a:spcBef>
                <a:spcPts val="0"/>
              </a:spcBef>
              <a:buFontTx/>
              <a:buNone/>
              <a:defRPr sz="2000" b="1">
                <a:solidFill>
                  <a:schemeClr val="tx1"/>
                </a:solidFill>
              </a:defRPr>
            </a:lvl1pPr>
          </a:lstStyle>
          <a:p>
            <a:pPr lvl="0"/>
            <a:r>
              <a:rPr lang="en-US" dirty="0"/>
              <a:t>Add title</a:t>
            </a:r>
          </a:p>
        </p:txBody>
      </p:sp>
      <p:sp>
        <p:nvSpPr>
          <p:cNvPr id="22" name="Picture Placeholder 2">
            <a:extLst>
              <a:ext uri="{FF2B5EF4-FFF2-40B4-BE49-F238E27FC236}">
                <a16:creationId xmlns:a16="http://schemas.microsoft.com/office/drawing/2014/main" id="{E2F4580A-0D5E-4A36-897F-BC82DD2F947C}"/>
              </a:ext>
            </a:extLst>
          </p:cNvPr>
          <p:cNvSpPr>
            <a:spLocks noGrp="1"/>
          </p:cNvSpPr>
          <p:nvPr>
            <p:ph type="pic" idx="17" hasCustomPrompt="1"/>
          </p:nvPr>
        </p:nvSpPr>
        <p:spPr>
          <a:xfrm>
            <a:off x="3661171" y="2733198"/>
            <a:ext cx="2331720" cy="2818947"/>
          </a:xfrm>
          <a:prstGeom prst="rect">
            <a:avLst/>
          </a:prstGeom>
          <a:ln w="9525">
            <a:solidFill>
              <a:schemeClr val="bg2"/>
            </a:solidFill>
          </a:ln>
        </p:spPr>
        <p:style>
          <a:lnRef idx="1">
            <a:schemeClr val="accent1"/>
          </a:lnRef>
          <a:fillRef idx="0">
            <a:schemeClr val="accent1"/>
          </a:fillRef>
          <a:effectRef idx="0">
            <a:schemeClr val="accent1"/>
          </a:effectRef>
          <a:fontRef idx="minor">
            <a:schemeClr val="tx1"/>
          </a:fontRef>
        </p:style>
        <p:txBody>
          <a:bodyPr vert="horz" lIns="0" tIns="0" rIns="0" bIns="548640" rtlCol="0" anchor="ctr">
            <a:noAutofit/>
          </a:bodyPr>
          <a:lstStyle>
            <a:lvl1pPr marL="273582" indent="-273582" algn="ctr">
              <a:buFontTx/>
              <a:buNone/>
              <a:defRPr lang="ko-KR" altLang="en-US" sz="1000" baseline="0" dirty="0">
                <a:solidFill>
                  <a:schemeClr val="accent5"/>
                </a:solidFill>
                <a:effectLst/>
                <a:ea typeface="+mj-ea"/>
                <a:cs typeface="Arial" pitchFamily="34" charset="0"/>
              </a:defRPr>
            </a:lvl1pPr>
          </a:lstStyle>
          <a:p>
            <a:r>
              <a:rPr lang="en-US" dirty="0"/>
              <a:t>Click picture icon to add image</a:t>
            </a:r>
          </a:p>
        </p:txBody>
      </p:sp>
      <p:sp>
        <p:nvSpPr>
          <p:cNvPr id="23" name="Text Placeholder 3">
            <a:extLst>
              <a:ext uri="{FF2B5EF4-FFF2-40B4-BE49-F238E27FC236}">
                <a16:creationId xmlns:a16="http://schemas.microsoft.com/office/drawing/2014/main" id="{414A120F-5254-4AC5-842D-EDABFC036717}"/>
              </a:ext>
            </a:extLst>
          </p:cNvPr>
          <p:cNvSpPr>
            <a:spLocks noGrp="1"/>
          </p:cNvSpPr>
          <p:nvPr>
            <p:ph type="body" sz="quarter" idx="18" hasCustomPrompt="1"/>
          </p:nvPr>
        </p:nvSpPr>
        <p:spPr>
          <a:xfrm>
            <a:off x="3661171" y="5726509"/>
            <a:ext cx="2331720" cy="276999"/>
          </a:xfrm>
        </p:spPr>
        <p:txBody>
          <a:bodyPr anchor="t" anchorCtr="0">
            <a:spAutoFit/>
          </a:bodyPr>
          <a:lstStyle>
            <a:lvl1pPr marL="0" indent="0" algn="ctr">
              <a:spcBef>
                <a:spcPts val="600"/>
              </a:spcBef>
              <a:buFontTx/>
              <a:buNone/>
              <a:defRPr sz="2000"/>
            </a:lvl1pPr>
          </a:lstStyle>
          <a:p>
            <a:pPr lvl="0"/>
            <a:r>
              <a:rPr lang="en-US" dirty="0"/>
              <a:t>Add text</a:t>
            </a:r>
          </a:p>
        </p:txBody>
      </p:sp>
      <p:sp>
        <p:nvSpPr>
          <p:cNvPr id="24" name="Text Placeholder 15">
            <a:extLst>
              <a:ext uri="{FF2B5EF4-FFF2-40B4-BE49-F238E27FC236}">
                <a16:creationId xmlns:a16="http://schemas.microsoft.com/office/drawing/2014/main" id="{5D35A3A2-00CD-44D2-821F-EE7604FDC940}"/>
              </a:ext>
            </a:extLst>
          </p:cNvPr>
          <p:cNvSpPr>
            <a:spLocks noGrp="1"/>
          </p:cNvSpPr>
          <p:nvPr>
            <p:ph type="body" sz="quarter" idx="19" hasCustomPrompt="1"/>
          </p:nvPr>
        </p:nvSpPr>
        <p:spPr>
          <a:xfrm>
            <a:off x="3661171" y="2262962"/>
            <a:ext cx="2331720" cy="347472"/>
          </a:xfrm>
        </p:spPr>
        <p:txBody>
          <a:bodyPr anchor="ctr" anchorCtr="0"/>
          <a:lstStyle>
            <a:lvl1pPr marL="0" indent="0" algn="ctr">
              <a:lnSpc>
                <a:spcPct val="85000"/>
              </a:lnSpc>
              <a:spcBef>
                <a:spcPts val="0"/>
              </a:spcBef>
              <a:buFontTx/>
              <a:buNone/>
              <a:defRPr sz="2000" b="1">
                <a:solidFill>
                  <a:schemeClr val="tx1"/>
                </a:solidFill>
              </a:defRPr>
            </a:lvl1pPr>
          </a:lstStyle>
          <a:p>
            <a:pPr lvl="0"/>
            <a:r>
              <a:rPr lang="en-US" dirty="0"/>
              <a:t>Add title</a:t>
            </a:r>
          </a:p>
        </p:txBody>
      </p:sp>
      <p:sp>
        <p:nvSpPr>
          <p:cNvPr id="32" name="Picture Placeholder 2">
            <a:extLst>
              <a:ext uri="{FF2B5EF4-FFF2-40B4-BE49-F238E27FC236}">
                <a16:creationId xmlns:a16="http://schemas.microsoft.com/office/drawing/2014/main" id="{5B0DDFC0-CB07-4EDA-AA79-CD84C12E72DF}"/>
              </a:ext>
            </a:extLst>
          </p:cNvPr>
          <p:cNvSpPr>
            <a:spLocks noGrp="1"/>
          </p:cNvSpPr>
          <p:nvPr>
            <p:ph type="pic" idx="20" hasCustomPrompt="1"/>
          </p:nvPr>
        </p:nvSpPr>
        <p:spPr>
          <a:xfrm>
            <a:off x="6453851" y="2733198"/>
            <a:ext cx="2331720" cy="2818947"/>
          </a:xfrm>
          <a:prstGeom prst="rect">
            <a:avLst/>
          </a:prstGeom>
          <a:ln w="9525">
            <a:solidFill>
              <a:schemeClr val="bg2"/>
            </a:solidFill>
          </a:ln>
        </p:spPr>
        <p:style>
          <a:lnRef idx="1">
            <a:schemeClr val="accent1"/>
          </a:lnRef>
          <a:fillRef idx="0">
            <a:schemeClr val="accent1"/>
          </a:fillRef>
          <a:effectRef idx="0">
            <a:schemeClr val="accent1"/>
          </a:effectRef>
          <a:fontRef idx="minor">
            <a:schemeClr val="tx1"/>
          </a:fontRef>
        </p:style>
        <p:txBody>
          <a:bodyPr vert="horz" lIns="0" tIns="0" rIns="0" bIns="548640" rtlCol="0" anchor="ctr">
            <a:noAutofit/>
          </a:bodyPr>
          <a:lstStyle>
            <a:lvl1pPr marL="273582" indent="-273582" algn="ctr">
              <a:buFontTx/>
              <a:buNone/>
              <a:defRPr lang="ko-KR" altLang="en-US" sz="1000" baseline="0" dirty="0">
                <a:solidFill>
                  <a:schemeClr val="accent5"/>
                </a:solidFill>
                <a:effectLst/>
                <a:ea typeface="+mj-ea"/>
                <a:cs typeface="Arial" pitchFamily="34" charset="0"/>
              </a:defRPr>
            </a:lvl1pPr>
          </a:lstStyle>
          <a:p>
            <a:r>
              <a:rPr lang="en-US" dirty="0"/>
              <a:t>Click picture icon to add image</a:t>
            </a:r>
          </a:p>
        </p:txBody>
      </p:sp>
      <p:sp>
        <p:nvSpPr>
          <p:cNvPr id="33" name="Text Placeholder 3">
            <a:extLst>
              <a:ext uri="{FF2B5EF4-FFF2-40B4-BE49-F238E27FC236}">
                <a16:creationId xmlns:a16="http://schemas.microsoft.com/office/drawing/2014/main" id="{DDA81F5E-BFF4-40DB-9E52-F5C7CE6F26D3}"/>
              </a:ext>
            </a:extLst>
          </p:cNvPr>
          <p:cNvSpPr>
            <a:spLocks noGrp="1"/>
          </p:cNvSpPr>
          <p:nvPr>
            <p:ph type="body" sz="quarter" idx="21" hasCustomPrompt="1"/>
          </p:nvPr>
        </p:nvSpPr>
        <p:spPr>
          <a:xfrm>
            <a:off x="6453851" y="5726509"/>
            <a:ext cx="2331719" cy="276999"/>
          </a:xfrm>
        </p:spPr>
        <p:txBody>
          <a:bodyPr anchor="t" anchorCtr="0">
            <a:spAutoFit/>
          </a:bodyPr>
          <a:lstStyle>
            <a:lvl1pPr marL="0" indent="0" algn="ctr">
              <a:spcBef>
                <a:spcPts val="600"/>
              </a:spcBef>
              <a:buFontTx/>
              <a:buNone/>
              <a:defRPr sz="2000"/>
            </a:lvl1pPr>
          </a:lstStyle>
          <a:p>
            <a:pPr lvl="0"/>
            <a:r>
              <a:rPr lang="en-US" dirty="0"/>
              <a:t>Add text</a:t>
            </a:r>
          </a:p>
        </p:txBody>
      </p:sp>
      <p:sp>
        <p:nvSpPr>
          <p:cNvPr id="34" name="Text Placeholder 15">
            <a:extLst>
              <a:ext uri="{FF2B5EF4-FFF2-40B4-BE49-F238E27FC236}">
                <a16:creationId xmlns:a16="http://schemas.microsoft.com/office/drawing/2014/main" id="{8A96BFD0-28FC-48C9-9D67-C16FE0496C6C}"/>
              </a:ext>
            </a:extLst>
          </p:cNvPr>
          <p:cNvSpPr>
            <a:spLocks noGrp="1"/>
          </p:cNvSpPr>
          <p:nvPr>
            <p:ph type="body" sz="quarter" idx="22" hasCustomPrompt="1"/>
          </p:nvPr>
        </p:nvSpPr>
        <p:spPr>
          <a:xfrm>
            <a:off x="6453851" y="2262962"/>
            <a:ext cx="2331719" cy="347472"/>
          </a:xfrm>
        </p:spPr>
        <p:txBody>
          <a:bodyPr anchor="ctr" anchorCtr="0"/>
          <a:lstStyle>
            <a:lvl1pPr marL="0" indent="0" algn="ctr">
              <a:lnSpc>
                <a:spcPct val="85000"/>
              </a:lnSpc>
              <a:spcBef>
                <a:spcPts val="0"/>
              </a:spcBef>
              <a:buFontTx/>
              <a:buNone/>
              <a:defRPr sz="2000" b="1">
                <a:solidFill>
                  <a:schemeClr val="tx1"/>
                </a:solidFill>
              </a:defRPr>
            </a:lvl1pPr>
          </a:lstStyle>
          <a:p>
            <a:pPr lvl="0"/>
            <a:r>
              <a:rPr lang="en-US" dirty="0"/>
              <a:t>Add title</a:t>
            </a:r>
          </a:p>
        </p:txBody>
      </p:sp>
      <p:sp>
        <p:nvSpPr>
          <p:cNvPr id="38" name="Picture Placeholder 2">
            <a:extLst>
              <a:ext uri="{FF2B5EF4-FFF2-40B4-BE49-F238E27FC236}">
                <a16:creationId xmlns:a16="http://schemas.microsoft.com/office/drawing/2014/main" id="{1C2FFA97-B5B5-4425-A02D-BE159DE90DDB}"/>
              </a:ext>
            </a:extLst>
          </p:cNvPr>
          <p:cNvSpPr>
            <a:spLocks noGrp="1"/>
          </p:cNvSpPr>
          <p:nvPr>
            <p:ph type="pic" idx="23" hasCustomPrompt="1"/>
          </p:nvPr>
        </p:nvSpPr>
        <p:spPr>
          <a:xfrm>
            <a:off x="9246532" y="2733197"/>
            <a:ext cx="2331720" cy="2818947"/>
          </a:xfrm>
          <a:prstGeom prst="rect">
            <a:avLst/>
          </a:prstGeom>
          <a:ln w="9525">
            <a:solidFill>
              <a:schemeClr val="bg2"/>
            </a:solidFill>
          </a:ln>
        </p:spPr>
        <p:style>
          <a:lnRef idx="1">
            <a:schemeClr val="accent1"/>
          </a:lnRef>
          <a:fillRef idx="0">
            <a:schemeClr val="accent1"/>
          </a:fillRef>
          <a:effectRef idx="0">
            <a:schemeClr val="accent1"/>
          </a:effectRef>
          <a:fontRef idx="minor">
            <a:schemeClr val="tx1"/>
          </a:fontRef>
        </p:style>
        <p:txBody>
          <a:bodyPr vert="horz" lIns="0" tIns="0" rIns="0" bIns="548640" rtlCol="0" anchor="ctr">
            <a:noAutofit/>
          </a:bodyPr>
          <a:lstStyle>
            <a:lvl1pPr marL="273582" indent="-273582" algn="ctr">
              <a:buFontTx/>
              <a:buNone/>
              <a:defRPr lang="ko-KR" altLang="en-US" sz="1000" baseline="0" dirty="0">
                <a:solidFill>
                  <a:schemeClr val="accent5"/>
                </a:solidFill>
                <a:effectLst/>
                <a:ea typeface="+mj-ea"/>
                <a:cs typeface="Arial" pitchFamily="34" charset="0"/>
              </a:defRPr>
            </a:lvl1pPr>
          </a:lstStyle>
          <a:p>
            <a:r>
              <a:rPr lang="en-US" dirty="0"/>
              <a:t>Click picture icon to add image</a:t>
            </a:r>
          </a:p>
        </p:txBody>
      </p:sp>
      <p:sp>
        <p:nvSpPr>
          <p:cNvPr id="39" name="Text Placeholder 3">
            <a:extLst>
              <a:ext uri="{FF2B5EF4-FFF2-40B4-BE49-F238E27FC236}">
                <a16:creationId xmlns:a16="http://schemas.microsoft.com/office/drawing/2014/main" id="{F5705EDC-D0D7-43C3-AF77-46F76E76BC9F}"/>
              </a:ext>
            </a:extLst>
          </p:cNvPr>
          <p:cNvSpPr>
            <a:spLocks noGrp="1"/>
          </p:cNvSpPr>
          <p:nvPr>
            <p:ph type="body" sz="quarter" idx="24" hasCustomPrompt="1"/>
          </p:nvPr>
        </p:nvSpPr>
        <p:spPr>
          <a:xfrm>
            <a:off x="9246531" y="5726508"/>
            <a:ext cx="2332191" cy="276999"/>
          </a:xfrm>
        </p:spPr>
        <p:txBody>
          <a:bodyPr anchor="t" anchorCtr="0">
            <a:spAutoFit/>
          </a:bodyPr>
          <a:lstStyle>
            <a:lvl1pPr marL="0" indent="0" algn="ctr">
              <a:spcBef>
                <a:spcPts val="600"/>
              </a:spcBef>
              <a:buFontTx/>
              <a:buNone/>
              <a:defRPr sz="2000"/>
            </a:lvl1pPr>
          </a:lstStyle>
          <a:p>
            <a:pPr lvl="0"/>
            <a:r>
              <a:rPr lang="en-US" dirty="0"/>
              <a:t>Add text</a:t>
            </a:r>
          </a:p>
        </p:txBody>
      </p:sp>
      <p:sp>
        <p:nvSpPr>
          <p:cNvPr id="40" name="Text Placeholder 15">
            <a:extLst>
              <a:ext uri="{FF2B5EF4-FFF2-40B4-BE49-F238E27FC236}">
                <a16:creationId xmlns:a16="http://schemas.microsoft.com/office/drawing/2014/main" id="{665046A0-2F9E-4A45-A3DC-1A8077995507}"/>
              </a:ext>
            </a:extLst>
          </p:cNvPr>
          <p:cNvSpPr>
            <a:spLocks noGrp="1"/>
          </p:cNvSpPr>
          <p:nvPr>
            <p:ph type="body" sz="quarter" idx="25" hasCustomPrompt="1"/>
          </p:nvPr>
        </p:nvSpPr>
        <p:spPr>
          <a:xfrm>
            <a:off x="9246531" y="2262961"/>
            <a:ext cx="2332191" cy="347472"/>
          </a:xfrm>
        </p:spPr>
        <p:txBody>
          <a:bodyPr anchor="ctr" anchorCtr="0"/>
          <a:lstStyle>
            <a:lvl1pPr marL="0" indent="0" algn="ctr">
              <a:lnSpc>
                <a:spcPct val="85000"/>
              </a:lnSpc>
              <a:spcBef>
                <a:spcPts val="0"/>
              </a:spcBef>
              <a:buFontTx/>
              <a:buNone/>
              <a:defRPr sz="2000" b="1">
                <a:solidFill>
                  <a:schemeClr val="tx1"/>
                </a:solidFill>
              </a:defRPr>
            </a:lvl1pPr>
          </a:lstStyle>
          <a:p>
            <a:pPr lvl="0"/>
            <a:r>
              <a:rPr lang="en-US" dirty="0"/>
              <a:t>Add title</a:t>
            </a:r>
          </a:p>
        </p:txBody>
      </p:sp>
      <p:sp>
        <p:nvSpPr>
          <p:cNvPr id="17" name="Text Placeholder 3">
            <a:extLst>
              <a:ext uri="{FF2B5EF4-FFF2-40B4-BE49-F238E27FC236}">
                <a16:creationId xmlns:a16="http://schemas.microsoft.com/office/drawing/2014/main" id="{F5713E64-52D7-4B1E-A775-FFC5675D67BC}"/>
              </a:ext>
            </a:extLst>
          </p:cNvPr>
          <p:cNvSpPr>
            <a:spLocks noGrp="1"/>
          </p:cNvSpPr>
          <p:nvPr>
            <p:ph type="body" sz="quarter" idx="42" hasCustomPrompt="1"/>
          </p:nvPr>
        </p:nvSpPr>
        <p:spPr>
          <a:xfrm>
            <a:off x="880243" y="1709928"/>
            <a:ext cx="10698480" cy="304699"/>
          </a:xfrm>
          <a:noFill/>
        </p:spPr>
        <p:txBody>
          <a:bodyPr vert="horz" lIns="0" tIns="0" rIns="0" bIns="0" rtlCol="0" anchor="ctr" anchorCtr="0">
            <a:spAutoFit/>
          </a:bodyPr>
          <a:lstStyle>
            <a:lvl1pPr marL="0" indent="0" algn="ctr">
              <a:buFontTx/>
              <a:buNone/>
              <a:defRPr lang="en-US" sz="2200" dirty="0"/>
            </a:lvl1pPr>
          </a:lstStyle>
          <a:p>
            <a:pPr lvl="0"/>
            <a:r>
              <a:rPr lang="en-US" dirty="0"/>
              <a:t>Call out blurb</a:t>
            </a:r>
          </a:p>
        </p:txBody>
      </p:sp>
      <p:sp>
        <p:nvSpPr>
          <p:cNvPr id="26" name="Rectangle 25">
            <a:extLst>
              <a:ext uri="{FF2B5EF4-FFF2-40B4-BE49-F238E27FC236}">
                <a16:creationId xmlns:a16="http://schemas.microsoft.com/office/drawing/2014/main" id="{C8E0C0A8-F8B8-4AB7-BE6F-330CFF51FE14}"/>
              </a:ext>
            </a:extLst>
          </p:cNvPr>
          <p:cNvSpPr/>
          <p:nvPr userDrawn="1"/>
        </p:nvSpPr>
        <p:spPr>
          <a:xfrm>
            <a:off x="0" y="2733198"/>
            <a:ext cx="521970" cy="28189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dirty="0">
              <a:solidFill>
                <a:schemeClr val="accent3"/>
              </a:solidFill>
            </a:endParaRPr>
          </a:p>
        </p:txBody>
      </p:sp>
    </p:spTree>
    <p:extLst>
      <p:ext uri="{BB962C8B-B14F-4D97-AF65-F5344CB8AC3E}">
        <p14:creationId xmlns:p14="http://schemas.microsoft.com/office/powerpoint/2010/main" val="3155671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ase Study 2">
    <p:spTree>
      <p:nvGrpSpPr>
        <p:cNvPr id="1" name=""/>
        <p:cNvGrpSpPr/>
        <p:nvPr/>
      </p:nvGrpSpPr>
      <p:grpSpPr>
        <a:xfrm>
          <a:off x="0" y="0"/>
          <a:ext cx="0" cy="0"/>
          <a:chOff x="0" y="0"/>
          <a:chExt cx="0" cy="0"/>
        </a:xfrm>
      </p:grpSpPr>
      <p:sp>
        <p:nvSpPr>
          <p:cNvPr id="22" name="Picture Placeholder 3">
            <a:extLst>
              <a:ext uri="{FF2B5EF4-FFF2-40B4-BE49-F238E27FC236}">
                <a16:creationId xmlns:a16="http://schemas.microsoft.com/office/drawing/2014/main" id="{D5773A3F-F682-4CDF-A763-ADF830C949EE}"/>
              </a:ext>
            </a:extLst>
          </p:cNvPr>
          <p:cNvSpPr>
            <a:spLocks noGrp="1"/>
          </p:cNvSpPr>
          <p:nvPr>
            <p:ph type="pic" sz="quarter" idx="12" hasCustomPrompt="1"/>
          </p:nvPr>
        </p:nvSpPr>
        <p:spPr>
          <a:xfrm>
            <a:off x="-18951" y="98770"/>
            <a:ext cx="5833011" cy="6759230"/>
          </a:xfrm>
          <a:custGeom>
            <a:avLst/>
            <a:gdLst>
              <a:gd name="connsiteX0" fmla="*/ 0 w 12188953"/>
              <a:gd name="connsiteY0" fmla="*/ 0 h 6426200"/>
              <a:gd name="connsiteX1" fmla="*/ 12188953 w 12188953"/>
              <a:gd name="connsiteY1" fmla="*/ 0 h 6426200"/>
              <a:gd name="connsiteX2" fmla="*/ 12188953 w 12188953"/>
              <a:gd name="connsiteY2" fmla="*/ 6426200 h 6426200"/>
              <a:gd name="connsiteX3" fmla="*/ 0 w 12188953"/>
              <a:gd name="connsiteY3" fmla="*/ 6426200 h 6426200"/>
              <a:gd name="connsiteX4" fmla="*/ 0 w 12188953"/>
              <a:gd name="connsiteY4" fmla="*/ 0 h 6426200"/>
              <a:gd name="connsiteX0" fmla="*/ 0 w 12188953"/>
              <a:gd name="connsiteY0" fmla="*/ 0 h 6426200"/>
              <a:gd name="connsiteX1" fmla="*/ 12188953 w 12188953"/>
              <a:gd name="connsiteY1" fmla="*/ 0 h 6426200"/>
              <a:gd name="connsiteX2" fmla="*/ 12188953 w 12188953"/>
              <a:gd name="connsiteY2" fmla="*/ 6426200 h 6426200"/>
              <a:gd name="connsiteX3" fmla="*/ 9102853 w 12188953"/>
              <a:gd name="connsiteY3" fmla="*/ 6413500 h 6426200"/>
              <a:gd name="connsiteX4" fmla="*/ 0 w 12188953"/>
              <a:gd name="connsiteY4" fmla="*/ 6426200 h 6426200"/>
              <a:gd name="connsiteX5" fmla="*/ 0 w 12188953"/>
              <a:gd name="connsiteY5" fmla="*/ 0 h 6426200"/>
              <a:gd name="connsiteX0" fmla="*/ 0 w 12188953"/>
              <a:gd name="connsiteY0" fmla="*/ 0 h 6426200"/>
              <a:gd name="connsiteX1" fmla="*/ 12188953 w 12188953"/>
              <a:gd name="connsiteY1" fmla="*/ 0 h 6426200"/>
              <a:gd name="connsiteX2" fmla="*/ 12188953 w 12188953"/>
              <a:gd name="connsiteY2" fmla="*/ 6426200 h 6426200"/>
              <a:gd name="connsiteX3" fmla="*/ 9102853 w 12188953"/>
              <a:gd name="connsiteY3" fmla="*/ 6413500 h 6426200"/>
              <a:gd name="connsiteX4" fmla="*/ 8366253 w 12188953"/>
              <a:gd name="connsiteY4" fmla="*/ 6413500 h 6426200"/>
              <a:gd name="connsiteX5" fmla="*/ 0 w 12188953"/>
              <a:gd name="connsiteY5" fmla="*/ 6426200 h 6426200"/>
              <a:gd name="connsiteX6" fmla="*/ 0 w 12188953"/>
              <a:gd name="connsiteY6" fmla="*/ 0 h 6426200"/>
              <a:gd name="connsiteX0" fmla="*/ 0 w 12188953"/>
              <a:gd name="connsiteY0" fmla="*/ 0 h 6629400"/>
              <a:gd name="connsiteX1" fmla="*/ 12188953 w 12188953"/>
              <a:gd name="connsiteY1" fmla="*/ 0 h 6629400"/>
              <a:gd name="connsiteX2" fmla="*/ 12188953 w 12188953"/>
              <a:gd name="connsiteY2" fmla="*/ 6426200 h 6629400"/>
              <a:gd name="connsiteX3" fmla="*/ 9102853 w 12188953"/>
              <a:gd name="connsiteY3" fmla="*/ 6413500 h 6629400"/>
              <a:gd name="connsiteX4" fmla="*/ 8632953 w 12188953"/>
              <a:gd name="connsiteY4" fmla="*/ 6629400 h 6629400"/>
              <a:gd name="connsiteX5" fmla="*/ 0 w 12188953"/>
              <a:gd name="connsiteY5" fmla="*/ 6426200 h 6629400"/>
              <a:gd name="connsiteX6" fmla="*/ 0 w 12188953"/>
              <a:gd name="connsiteY6" fmla="*/ 0 h 6629400"/>
              <a:gd name="connsiteX0" fmla="*/ 12700 w 12201653"/>
              <a:gd name="connsiteY0" fmla="*/ 0 h 6629400"/>
              <a:gd name="connsiteX1" fmla="*/ 12201653 w 12201653"/>
              <a:gd name="connsiteY1" fmla="*/ 0 h 6629400"/>
              <a:gd name="connsiteX2" fmla="*/ 12201653 w 12201653"/>
              <a:gd name="connsiteY2" fmla="*/ 6426200 h 6629400"/>
              <a:gd name="connsiteX3" fmla="*/ 9115553 w 12201653"/>
              <a:gd name="connsiteY3" fmla="*/ 6413500 h 6629400"/>
              <a:gd name="connsiteX4" fmla="*/ 8645653 w 12201653"/>
              <a:gd name="connsiteY4" fmla="*/ 6629400 h 6629400"/>
              <a:gd name="connsiteX5" fmla="*/ 0 w 12201653"/>
              <a:gd name="connsiteY5" fmla="*/ 6629400 h 6629400"/>
              <a:gd name="connsiteX6" fmla="*/ 12700 w 12201653"/>
              <a:gd name="connsiteY6" fmla="*/ 0 h 6629400"/>
              <a:gd name="connsiteX0" fmla="*/ 12700 w 12201653"/>
              <a:gd name="connsiteY0" fmla="*/ 0 h 6629400"/>
              <a:gd name="connsiteX1" fmla="*/ 12201653 w 12201653"/>
              <a:gd name="connsiteY1" fmla="*/ 0 h 6629400"/>
              <a:gd name="connsiteX2" fmla="*/ 12201653 w 12201653"/>
              <a:gd name="connsiteY2" fmla="*/ 6426200 h 6629400"/>
              <a:gd name="connsiteX3" fmla="*/ 9242553 w 12201653"/>
              <a:gd name="connsiteY3" fmla="*/ 6413500 h 6629400"/>
              <a:gd name="connsiteX4" fmla="*/ 8645653 w 12201653"/>
              <a:gd name="connsiteY4" fmla="*/ 6629400 h 6629400"/>
              <a:gd name="connsiteX5" fmla="*/ 0 w 12201653"/>
              <a:gd name="connsiteY5" fmla="*/ 6629400 h 6629400"/>
              <a:gd name="connsiteX6" fmla="*/ 12700 w 12201653"/>
              <a:gd name="connsiteY6" fmla="*/ 0 h 6629400"/>
              <a:gd name="connsiteX0" fmla="*/ 12700 w 12201653"/>
              <a:gd name="connsiteY0" fmla="*/ 0 h 6642027"/>
              <a:gd name="connsiteX1" fmla="*/ 12201653 w 12201653"/>
              <a:gd name="connsiteY1" fmla="*/ 0 h 6642027"/>
              <a:gd name="connsiteX2" fmla="*/ 12201653 w 12201653"/>
              <a:gd name="connsiteY2" fmla="*/ 6426200 h 6642027"/>
              <a:gd name="connsiteX3" fmla="*/ 9242553 w 12201653"/>
              <a:gd name="connsiteY3" fmla="*/ 6413500 h 6642027"/>
              <a:gd name="connsiteX4" fmla="*/ 8671053 w 12201653"/>
              <a:gd name="connsiteY4" fmla="*/ 6642027 h 6642027"/>
              <a:gd name="connsiteX5" fmla="*/ 0 w 12201653"/>
              <a:gd name="connsiteY5" fmla="*/ 6629400 h 6642027"/>
              <a:gd name="connsiteX6" fmla="*/ 12700 w 12201653"/>
              <a:gd name="connsiteY6" fmla="*/ 0 h 6642027"/>
              <a:gd name="connsiteX0" fmla="*/ 12700 w 12201653"/>
              <a:gd name="connsiteY0" fmla="*/ 0 h 6642027"/>
              <a:gd name="connsiteX1" fmla="*/ 12201653 w 12201653"/>
              <a:gd name="connsiteY1" fmla="*/ 0 h 6642027"/>
              <a:gd name="connsiteX2" fmla="*/ 12201653 w 12201653"/>
              <a:gd name="connsiteY2" fmla="*/ 6426200 h 6642027"/>
              <a:gd name="connsiteX3" fmla="*/ 9242553 w 12201653"/>
              <a:gd name="connsiteY3" fmla="*/ 6413500 h 6642027"/>
              <a:gd name="connsiteX4" fmla="*/ 8671053 w 12201653"/>
              <a:gd name="connsiteY4" fmla="*/ 6642027 h 6642027"/>
              <a:gd name="connsiteX5" fmla="*/ 0 w 12201653"/>
              <a:gd name="connsiteY5" fmla="*/ 6629400 h 6642027"/>
              <a:gd name="connsiteX6" fmla="*/ 12700 w 12201653"/>
              <a:gd name="connsiteY6" fmla="*/ 0 h 6642027"/>
              <a:gd name="connsiteX0" fmla="*/ 50800 w 12239753"/>
              <a:gd name="connsiteY0" fmla="*/ 0 h 6654655"/>
              <a:gd name="connsiteX1" fmla="*/ 12239753 w 12239753"/>
              <a:gd name="connsiteY1" fmla="*/ 0 h 6654655"/>
              <a:gd name="connsiteX2" fmla="*/ 12239753 w 12239753"/>
              <a:gd name="connsiteY2" fmla="*/ 6426200 h 6654655"/>
              <a:gd name="connsiteX3" fmla="*/ 9280653 w 12239753"/>
              <a:gd name="connsiteY3" fmla="*/ 6413500 h 6654655"/>
              <a:gd name="connsiteX4" fmla="*/ 8709153 w 12239753"/>
              <a:gd name="connsiteY4" fmla="*/ 6642027 h 6654655"/>
              <a:gd name="connsiteX5" fmla="*/ 0 w 12239753"/>
              <a:gd name="connsiteY5" fmla="*/ 6654655 h 6654655"/>
              <a:gd name="connsiteX6" fmla="*/ 50800 w 12239753"/>
              <a:gd name="connsiteY6" fmla="*/ 0 h 6654655"/>
              <a:gd name="connsiteX0" fmla="*/ 50800 w 12239753"/>
              <a:gd name="connsiteY0" fmla="*/ 12627 h 6667282"/>
              <a:gd name="connsiteX1" fmla="*/ 6143753 w 12239753"/>
              <a:gd name="connsiteY1" fmla="*/ 0 h 6667282"/>
              <a:gd name="connsiteX2" fmla="*/ 12239753 w 12239753"/>
              <a:gd name="connsiteY2" fmla="*/ 6438827 h 6667282"/>
              <a:gd name="connsiteX3" fmla="*/ 9280653 w 12239753"/>
              <a:gd name="connsiteY3" fmla="*/ 6426127 h 6667282"/>
              <a:gd name="connsiteX4" fmla="*/ 8709153 w 12239753"/>
              <a:gd name="connsiteY4" fmla="*/ 6654654 h 6667282"/>
              <a:gd name="connsiteX5" fmla="*/ 0 w 12239753"/>
              <a:gd name="connsiteY5" fmla="*/ 6667282 h 6667282"/>
              <a:gd name="connsiteX6" fmla="*/ 50800 w 12239753"/>
              <a:gd name="connsiteY6" fmla="*/ 12627 h 6667282"/>
              <a:gd name="connsiteX0" fmla="*/ 50800 w 9280653"/>
              <a:gd name="connsiteY0" fmla="*/ 12627 h 6667282"/>
              <a:gd name="connsiteX1" fmla="*/ 6143753 w 9280653"/>
              <a:gd name="connsiteY1" fmla="*/ 0 h 6667282"/>
              <a:gd name="connsiteX2" fmla="*/ 9280653 w 9280653"/>
              <a:gd name="connsiteY2" fmla="*/ 6426127 h 6667282"/>
              <a:gd name="connsiteX3" fmla="*/ 8709153 w 9280653"/>
              <a:gd name="connsiteY3" fmla="*/ 6654654 h 6667282"/>
              <a:gd name="connsiteX4" fmla="*/ 0 w 9280653"/>
              <a:gd name="connsiteY4" fmla="*/ 6667282 h 6667282"/>
              <a:gd name="connsiteX5" fmla="*/ 50800 w 9280653"/>
              <a:gd name="connsiteY5" fmla="*/ 12627 h 6667282"/>
              <a:gd name="connsiteX0" fmla="*/ 50800 w 8709153"/>
              <a:gd name="connsiteY0" fmla="*/ 12627 h 6667282"/>
              <a:gd name="connsiteX1" fmla="*/ 6143753 w 8709153"/>
              <a:gd name="connsiteY1" fmla="*/ 0 h 6667282"/>
              <a:gd name="connsiteX2" fmla="*/ 8709153 w 8709153"/>
              <a:gd name="connsiteY2" fmla="*/ 6654654 h 6667282"/>
              <a:gd name="connsiteX3" fmla="*/ 0 w 8709153"/>
              <a:gd name="connsiteY3" fmla="*/ 6667282 h 6667282"/>
              <a:gd name="connsiteX4" fmla="*/ 50800 w 8709153"/>
              <a:gd name="connsiteY4" fmla="*/ 12627 h 6667282"/>
              <a:gd name="connsiteX0" fmla="*/ 50800 w 6181853"/>
              <a:gd name="connsiteY0" fmla="*/ 12627 h 6667282"/>
              <a:gd name="connsiteX1" fmla="*/ 6143753 w 6181853"/>
              <a:gd name="connsiteY1" fmla="*/ 0 h 6667282"/>
              <a:gd name="connsiteX2" fmla="*/ 6181853 w 6181853"/>
              <a:gd name="connsiteY2" fmla="*/ 6667282 h 6667282"/>
              <a:gd name="connsiteX3" fmla="*/ 0 w 6181853"/>
              <a:gd name="connsiteY3" fmla="*/ 6667282 h 6667282"/>
              <a:gd name="connsiteX4" fmla="*/ 50800 w 6181853"/>
              <a:gd name="connsiteY4" fmla="*/ 12627 h 6667282"/>
              <a:gd name="connsiteX0" fmla="*/ 50800 w 6181853"/>
              <a:gd name="connsiteY0" fmla="*/ 12627 h 6667282"/>
              <a:gd name="connsiteX1" fmla="*/ 6143753 w 6181853"/>
              <a:gd name="connsiteY1" fmla="*/ 0 h 6667282"/>
              <a:gd name="connsiteX2" fmla="*/ 6181853 w 6181853"/>
              <a:gd name="connsiteY2" fmla="*/ 6667282 h 6667282"/>
              <a:gd name="connsiteX3" fmla="*/ 0 w 6181853"/>
              <a:gd name="connsiteY3" fmla="*/ 6667282 h 6667282"/>
              <a:gd name="connsiteX4" fmla="*/ 50800 w 6181853"/>
              <a:gd name="connsiteY4" fmla="*/ 12627 h 6667282"/>
              <a:gd name="connsiteX0" fmla="*/ 720 w 6190083"/>
              <a:gd name="connsiteY0" fmla="*/ 12627 h 6667282"/>
              <a:gd name="connsiteX1" fmla="*/ 6151983 w 6190083"/>
              <a:gd name="connsiteY1" fmla="*/ 0 h 6667282"/>
              <a:gd name="connsiteX2" fmla="*/ 6190083 w 6190083"/>
              <a:gd name="connsiteY2" fmla="*/ 6667282 h 6667282"/>
              <a:gd name="connsiteX3" fmla="*/ 8230 w 6190083"/>
              <a:gd name="connsiteY3" fmla="*/ 6667282 h 6667282"/>
              <a:gd name="connsiteX4" fmla="*/ 720 w 6190083"/>
              <a:gd name="connsiteY4" fmla="*/ 12627 h 6667282"/>
              <a:gd name="connsiteX0" fmla="*/ 720 w 6190083"/>
              <a:gd name="connsiteY0" fmla="*/ 12627 h 6667282"/>
              <a:gd name="connsiteX1" fmla="*/ 6151983 w 6190083"/>
              <a:gd name="connsiteY1" fmla="*/ 0 h 6667282"/>
              <a:gd name="connsiteX2" fmla="*/ 6186537 w 6190083"/>
              <a:gd name="connsiteY2" fmla="*/ 530294 h 6667282"/>
              <a:gd name="connsiteX3" fmla="*/ 6190083 w 6190083"/>
              <a:gd name="connsiteY3" fmla="*/ 6667282 h 6667282"/>
              <a:gd name="connsiteX4" fmla="*/ 8230 w 6190083"/>
              <a:gd name="connsiteY4" fmla="*/ 6667282 h 6667282"/>
              <a:gd name="connsiteX5" fmla="*/ 720 w 6190083"/>
              <a:gd name="connsiteY5" fmla="*/ 12627 h 6667282"/>
              <a:gd name="connsiteX0" fmla="*/ 720 w 6190083"/>
              <a:gd name="connsiteY0" fmla="*/ 0 h 6654655"/>
              <a:gd name="connsiteX1" fmla="*/ 5731178 w 6190083"/>
              <a:gd name="connsiteY1" fmla="*/ 17406 h 6654655"/>
              <a:gd name="connsiteX2" fmla="*/ 6186537 w 6190083"/>
              <a:gd name="connsiteY2" fmla="*/ 517667 h 6654655"/>
              <a:gd name="connsiteX3" fmla="*/ 6190083 w 6190083"/>
              <a:gd name="connsiteY3" fmla="*/ 6654655 h 6654655"/>
              <a:gd name="connsiteX4" fmla="*/ 8230 w 6190083"/>
              <a:gd name="connsiteY4" fmla="*/ 6654655 h 6654655"/>
              <a:gd name="connsiteX5" fmla="*/ 720 w 6190083"/>
              <a:gd name="connsiteY5" fmla="*/ 0 h 6654655"/>
              <a:gd name="connsiteX0" fmla="*/ 720 w 6190083"/>
              <a:gd name="connsiteY0" fmla="*/ 5119 h 6659774"/>
              <a:gd name="connsiteX1" fmla="*/ 5731178 w 6190083"/>
              <a:gd name="connsiteY1" fmla="*/ 0 h 6659774"/>
              <a:gd name="connsiteX2" fmla="*/ 6186537 w 6190083"/>
              <a:gd name="connsiteY2" fmla="*/ 522786 h 6659774"/>
              <a:gd name="connsiteX3" fmla="*/ 6190083 w 6190083"/>
              <a:gd name="connsiteY3" fmla="*/ 6659774 h 6659774"/>
              <a:gd name="connsiteX4" fmla="*/ 8230 w 6190083"/>
              <a:gd name="connsiteY4" fmla="*/ 6659774 h 6659774"/>
              <a:gd name="connsiteX5" fmla="*/ 720 w 6190083"/>
              <a:gd name="connsiteY5" fmla="*/ 5119 h 6659774"/>
              <a:gd name="connsiteX0" fmla="*/ 720 w 6190083"/>
              <a:gd name="connsiteY0" fmla="*/ 5119 h 6659774"/>
              <a:gd name="connsiteX1" fmla="*/ 5731178 w 6190083"/>
              <a:gd name="connsiteY1" fmla="*/ 0 h 6659774"/>
              <a:gd name="connsiteX2" fmla="*/ 6186537 w 6190083"/>
              <a:gd name="connsiteY2" fmla="*/ 485245 h 6659774"/>
              <a:gd name="connsiteX3" fmla="*/ 6190083 w 6190083"/>
              <a:gd name="connsiteY3" fmla="*/ 6659774 h 6659774"/>
              <a:gd name="connsiteX4" fmla="*/ 8230 w 6190083"/>
              <a:gd name="connsiteY4" fmla="*/ 6659774 h 6659774"/>
              <a:gd name="connsiteX5" fmla="*/ 720 w 6190083"/>
              <a:gd name="connsiteY5" fmla="*/ 5119 h 6659774"/>
              <a:gd name="connsiteX0" fmla="*/ 720 w 6194629"/>
              <a:gd name="connsiteY0" fmla="*/ 5119 h 6659774"/>
              <a:gd name="connsiteX1" fmla="*/ 5731178 w 6194629"/>
              <a:gd name="connsiteY1" fmla="*/ 0 h 6659774"/>
              <a:gd name="connsiteX2" fmla="*/ 6194629 w 6194629"/>
              <a:gd name="connsiteY2" fmla="*/ 440195 h 6659774"/>
              <a:gd name="connsiteX3" fmla="*/ 6190083 w 6194629"/>
              <a:gd name="connsiteY3" fmla="*/ 6659774 h 6659774"/>
              <a:gd name="connsiteX4" fmla="*/ 8230 w 6194629"/>
              <a:gd name="connsiteY4" fmla="*/ 6659774 h 6659774"/>
              <a:gd name="connsiteX5" fmla="*/ 720 w 6194629"/>
              <a:gd name="connsiteY5" fmla="*/ 5119 h 6659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94629" h="6659774">
                <a:moveTo>
                  <a:pt x="720" y="5119"/>
                </a:moveTo>
                <a:lnTo>
                  <a:pt x="5731178" y="0"/>
                </a:lnTo>
                <a:lnTo>
                  <a:pt x="6194629" y="440195"/>
                </a:lnTo>
                <a:cubicBezTo>
                  <a:pt x="6193114" y="2513388"/>
                  <a:pt x="6191598" y="4586581"/>
                  <a:pt x="6190083" y="6659774"/>
                </a:cubicBezTo>
                <a:lnTo>
                  <a:pt x="8230" y="6659774"/>
                </a:lnTo>
                <a:cubicBezTo>
                  <a:pt x="12463" y="4449974"/>
                  <a:pt x="-3513" y="2214919"/>
                  <a:pt x="720" y="5119"/>
                </a:cubicBezTo>
                <a:close/>
              </a:path>
            </a:pathLst>
          </a:custGeom>
          <a:solidFill>
            <a:schemeClr val="bg1">
              <a:lumMod val="95000"/>
            </a:schemeClr>
          </a:solidFill>
        </p:spPr>
        <p:txBody>
          <a:bodyPr bIns="640080" anchor="ctr"/>
          <a:lstStyle>
            <a:lvl1pPr marL="0" indent="0" algn="ctr">
              <a:buNone/>
              <a:defRPr sz="1600">
                <a:solidFill>
                  <a:schemeClr val="accent5"/>
                </a:solidFill>
                <a:latin typeface="+mn-lt"/>
              </a:defRPr>
            </a:lvl1pPr>
          </a:lstStyle>
          <a:p>
            <a:r>
              <a:rPr lang="en-US" dirty="0"/>
              <a:t>Click picture icon to add image</a:t>
            </a:r>
          </a:p>
        </p:txBody>
      </p:sp>
      <p:sp>
        <p:nvSpPr>
          <p:cNvPr id="9" name="Text Placeholder 33"/>
          <p:cNvSpPr>
            <a:spLocks noGrp="1"/>
          </p:cNvSpPr>
          <p:nvPr>
            <p:ph type="body" sz="quarter" idx="18" hasCustomPrompt="1"/>
          </p:nvPr>
        </p:nvSpPr>
        <p:spPr>
          <a:xfrm>
            <a:off x="-11279" y="4615198"/>
            <a:ext cx="3653537" cy="1249154"/>
          </a:xfrm>
          <a:custGeom>
            <a:avLst/>
            <a:gdLst>
              <a:gd name="connsiteX0" fmla="*/ 0 w 7790688"/>
              <a:gd name="connsiteY0" fmla="*/ 1495912 h 1495912"/>
              <a:gd name="connsiteX1" fmla="*/ 449537 w 7790688"/>
              <a:gd name="connsiteY1" fmla="*/ 0 h 1495912"/>
              <a:gd name="connsiteX2" fmla="*/ 7790688 w 7790688"/>
              <a:gd name="connsiteY2" fmla="*/ 0 h 1495912"/>
              <a:gd name="connsiteX3" fmla="*/ 7341151 w 7790688"/>
              <a:gd name="connsiteY3" fmla="*/ 1495912 h 1495912"/>
              <a:gd name="connsiteX4" fmla="*/ 0 w 7790688"/>
              <a:gd name="connsiteY4" fmla="*/ 1495912 h 1495912"/>
              <a:gd name="connsiteX0" fmla="*/ 0 w 7790688"/>
              <a:gd name="connsiteY0" fmla="*/ 1495912 h 1495912"/>
              <a:gd name="connsiteX1" fmla="*/ 4818337 w 7790688"/>
              <a:gd name="connsiteY1" fmla="*/ 25400 h 1495912"/>
              <a:gd name="connsiteX2" fmla="*/ 7790688 w 7790688"/>
              <a:gd name="connsiteY2" fmla="*/ 0 h 1495912"/>
              <a:gd name="connsiteX3" fmla="*/ 7341151 w 7790688"/>
              <a:gd name="connsiteY3" fmla="*/ 1495912 h 1495912"/>
              <a:gd name="connsiteX4" fmla="*/ 0 w 7790688"/>
              <a:gd name="connsiteY4" fmla="*/ 1495912 h 1495912"/>
              <a:gd name="connsiteX0" fmla="*/ 0 w 2990088"/>
              <a:gd name="connsiteY0" fmla="*/ 1521312 h 1521312"/>
              <a:gd name="connsiteX1" fmla="*/ 17737 w 2990088"/>
              <a:gd name="connsiteY1" fmla="*/ 25400 h 1521312"/>
              <a:gd name="connsiteX2" fmla="*/ 2990088 w 2990088"/>
              <a:gd name="connsiteY2" fmla="*/ 0 h 1521312"/>
              <a:gd name="connsiteX3" fmla="*/ 2540551 w 2990088"/>
              <a:gd name="connsiteY3" fmla="*/ 1495912 h 1521312"/>
              <a:gd name="connsiteX4" fmla="*/ 0 w 2990088"/>
              <a:gd name="connsiteY4" fmla="*/ 1521312 h 1521312"/>
              <a:gd name="connsiteX0" fmla="*/ 0 w 2990088"/>
              <a:gd name="connsiteY0" fmla="*/ 1521312 h 1521312"/>
              <a:gd name="connsiteX1" fmla="*/ 93937 w 2990088"/>
              <a:gd name="connsiteY1" fmla="*/ 25400 h 1521312"/>
              <a:gd name="connsiteX2" fmla="*/ 2990088 w 2990088"/>
              <a:gd name="connsiteY2" fmla="*/ 0 h 1521312"/>
              <a:gd name="connsiteX3" fmla="*/ 2540551 w 2990088"/>
              <a:gd name="connsiteY3" fmla="*/ 1495912 h 1521312"/>
              <a:gd name="connsiteX4" fmla="*/ 0 w 2990088"/>
              <a:gd name="connsiteY4" fmla="*/ 1521312 h 1521312"/>
              <a:gd name="connsiteX0" fmla="*/ 7663 w 2896151"/>
              <a:gd name="connsiteY0" fmla="*/ 1521312 h 1521312"/>
              <a:gd name="connsiteX1" fmla="*/ 0 w 2896151"/>
              <a:gd name="connsiteY1" fmla="*/ 25400 h 1521312"/>
              <a:gd name="connsiteX2" fmla="*/ 2896151 w 2896151"/>
              <a:gd name="connsiteY2" fmla="*/ 0 h 1521312"/>
              <a:gd name="connsiteX3" fmla="*/ 2446614 w 2896151"/>
              <a:gd name="connsiteY3" fmla="*/ 1495912 h 1521312"/>
              <a:gd name="connsiteX4" fmla="*/ 7663 w 2896151"/>
              <a:gd name="connsiteY4" fmla="*/ 1521312 h 1521312"/>
              <a:gd name="connsiteX0" fmla="*/ 743 w 2889231"/>
              <a:gd name="connsiteY0" fmla="*/ 1521312 h 1521312"/>
              <a:gd name="connsiteX1" fmla="*/ 700 w 2889231"/>
              <a:gd name="connsiteY1" fmla="*/ 2540 h 1521312"/>
              <a:gd name="connsiteX2" fmla="*/ 2889231 w 2889231"/>
              <a:gd name="connsiteY2" fmla="*/ 0 h 1521312"/>
              <a:gd name="connsiteX3" fmla="*/ 2439694 w 2889231"/>
              <a:gd name="connsiteY3" fmla="*/ 1495912 h 1521312"/>
              <a:gd name="connsiteX4" fmla="*/ 743 w 2889231"/>
              <a:gd name="connsiteY4" fmla="*/ 1521312 h 1521312"/>
              <a:gd name="connsiteX0" fmla="*/ 15283 w 2888531"/>
              <a:gd name="connsiteY0" fmla="*/ 1483212 h 1495912"/>
              <a:gd name="connsiteX1" fmla="*/ 0 w 2888531"/>
              <a:gd name="connsiteY1" fmla="*/ 2540 h 1495912"/>
              <a:gd name="connsiteX2" fmla="*/ 2888531 w 2888531"/>
              <a:gd name="connsiteY2" fmla="*/ 0 h 1495912"/>
              <a:gd name="connsiteX3" fmla="*/ 2438994 w 2888531"/>
              <a:gd name="connsiteY3" fmla="*/ 1495912 h 1495912"/>
              <a:gd name="connsiteX4" fmla="*/ 15283 w 2888531"/>
              <a:gd name="connsiteY4" fmla="*/ 1483212 h 1495912"/>
              <a:gd name="connsiteX0" fmla="*/ 15283 w 2888531"/>
              <a:gd name="connsiteY0" fmla="*/ 1483212 h 1495912"/>
              <a:gd name="connsiteX1" fmla="*/ 0 w 2888531"/>
              <a:gd name="connsiteY1" fmla="*/ 116840 h 1495912"/>
              <a:gd name="connsiteX2" fmla="*/ 2888531 w 2888531"/>
              <a:gd name="connsiteY2" fmla="*/ 0 h 1495912"/>
              <a:gd name="connsiteX3" fmla="*/ 2438994 w 2888531"/>
              <a:gd name="connsiteY3" fmla="*/ 1495912 h 1495912"/>
              <a:gd name="connsiteX4" fmla="*/ 15283 w 2888531"/>
              <a:gd name="connsiteY4" fmla="*/ 1483212 h 1495912"/>
              <a:gd name="connsiteX0" fmla="*/ 15283 w 2888531"/>
              <a:gd name="connsiteY0" fmla="*/ 1483212 h 1495912"/>
              <a:gd name="connsiteX1" fmla="*/ 0 w 2888531"/>
              <a:gd name="connsiteY1" fmla="*/ 116840 h 1495912"/>
              <a:gd name="connsiteX2" fmla="*/ 2598312 w 2888531"/>
              <a:gd name="connsiteY2" fmla="*/ 360 h 1495912"/>
              <a:gd name="connsiteX3" fmla="*/ 2888531 w 2888531"/>
              <a:gd name="connsiteY3" fmla="*/ 0 h 1495912"/>
              <a:gd name="connsiteX4" fmla="*/ 2438994 w 2888531"/>
              <a:gd name="connsiteY4" fmla="*/ 1495912 h 1495912"/>
              <a:gd name="connsiteX5" fmla="*/ 15283 w 2888531"/>
              <a:gd name="connsiteY5" fmla="*/ 1483212 h 1495912"/>
              <a:gd name="connsiteX0" fmla="*/ 15283 w 2888531"/>
              <a:gd name="connsiteY0" fmla="*/ 1483212 h 1495912"/>
              <a:gd name="connsiteX1" fmla="*/ 0 w 2888531"/>
              <a:gd name="connsiteY1" fmla="*/ 116840 h 1495912"/>
              <a:gd name="connsiteX2" fmla="*/ 2588787 w 2888531"/>
              <a:gd name="connsiteY2" fmla="*/ 128948 h 1495912"/>
              <a:gd name="connsiteX3" fmla="*/ 2888531 w 2888531"/>
              <a:gd name="connsiteY3" fmla="*/ 0 h 1495912"/>
              <a:gd name="connsiteX4" fmla="*/ 2438994 w 2888531"/>
              <a:gd name="connsiteY4" fmla="*/ 1495912 h 1495912"/>
              <a:gd name="connsiteX5" fmla="*/ 15283 w 2888531"/>
              <a:gd name="connsiteY5" fmla="*/ 1483212 h 1495912"/>
              <a:gd name="connsiteX0" fmla="*/ 15283 w 2802806"/>
              <a:gd name="connsiteY0" fmla="*/ 1366372 h 1379072"/>
              <a:gd name="connsiteX1" fmla="*/ 0 w 2802806"/>
              <a:gd name="connsiteY1" fmla="*/ 0 h 1379072"/>
              <a:gd name="connsiteX2" fmla="*/ 2588787 w 2802806"/>
              <a:gd name="connsiteY2" fmla="*/ 12108 h 1379072"/>
              <a:gd name="connsiteX3" fmla="*/ 2802806 w 2802806"/>
              <a:gd name="connsiteY3" fmla="*/ 97473 h 1379072"/>
              <a:gd name="connsiteX4" fmla="*/ 2438994 w 2802806"/>
              <a:gd name="connsiteY4" fmla="*/ 1379072 h 1379072"/>
              <a:gd name="connsiteX5" fmla="*/ 15283 w 2802806"/>
              <a:gd name="connsiteY5" fmla="*/ 1366372 h 1379072"/>
              <a:gd name="connsiteX0" fmla="*/ 243 w 2816341"/>
              <a:gd name="connsiteY0" fmla="*/ 1356847 h 1379072"/>
              <a:gd name="connsiteX1" fmla="*/ 13535 w 2816341"/>
              <a:gd name="connsiteY1" fmla="*/ 0 h 1379072"/>
              <a:gd name="connsiteX2" fmla="*/ 2602322 w 2816341"/>
              <a:gd name="connsiteY2" fmla="*/ 12108 h 1379072"/>
              <a:gd name="connsiteX3" fmla="*/ 2816341 w 2816341"/>
              <a:gd name="connsiteY3" fmla="*/ 97473 h 1379072"/>
              <a:gd name="connsiteX4" fmla="*/ 2452529 w 2816341"/>
              <a:gd name="connsiteY4" fmla="*/ 1379072 h 1379072"/>
              <a:gd name="connsiteX5" fmla="*/ 243 w 2816341"/>
              <a:gd name="connsiteY5" fmla="*/ 1356847 h 1379072"/>
              <a:gd name="connsiteX0" fmla="*/ 243 w 2816341"/>
              <a:gd name="connsiteY0" fmla="*/ 1356847 h 1360022"/>
              <a:gd name="connsiteX1" fmla="*/ 13535 w 2816341"/>
              <a:gd name="connsiteY1" fmla="*/ 0 h 1360022"/>
              <a:gd name="connsiteX2" fmla="*/ 2602322 w 2816341"/>
              <a:gd name="connsiteY2" fmla="*/ 12108 h 1360022"/>
              <a:gd name="connsiteX3" fmla="*/ 2816341 w 2816341"/>
              <a:gd name="connsiteY3" fmla="*/ 97473 h 1360022"/>
              <a:gd name="connsiteX4" fmla="*/ 2476341 w 2816341"/>
              <a:gd name="connsiteY4" fmla="*/ 1360022 h 1360022"/>
              <a:gd name="connsiteX5" fmla="*/ 243 w 2816341"/>
              <a:gd name="connsiteY5" fmla="*/ 1356847 h 1360022"/>
              <a:gd name="connsiteX0" fmla="*/ 243 w 2816341"/>
              <a:gd name="connsiteY0" fmla="*/ 1356847 h 1369547"/>
              <a:gd name="connsiteX1" fmla="*/ 13535 w 2816341"/>
              <a:gd name="connsiteY1" fmla="*/ 0 h 1369547"/>
              <a:gd name="connsiteX2" fmla="*/ 2602322 w 2816341"/>
              <a:gd name="connsiteY2" fmla="*/ 12108 h 1369547"/>
              <a:gd name="connsiteX3" fmla="*/ 2816341 w 2816341"/>
              <a:gd name="connsiteY3" fmla="*/ 97473 h 1369547"/>
              <a:gd name="connsiteX4" fmla="*/ 2457291 w 2816341"/>
              <a:gd name="connsiteY4" fmla="*/ 1369547 h 1369547"/>
              <a:gd name="connsiteX5" fmla="*/ 243 w 2816341"/>
              <a:gd name="connsiteY5" fmla="*/ 1356847 h 1369547"/>
              <a:gd name="connsiteX0" fmla="*/ 243 w 2816341"/>
              <a:gd name="connsiteY0" fmla="*/ 1356847 h 1356847"/>
              <a:gd name="connsiteX1" fmla="*/ 13535 w 2816341"/>
              <a:gd name="connsiteY1" fmla="*/ 0 h 1356847"/>
              <a:gd name="connsiteX2" fmla="*/ 2602322 w 2816341"/>
              <a:gd name="connsiteY2" fmla="*/ 12108 h 1356847"/>
              <a:gd name="connsiteX3" fmla="*/ 2816341 w 2816341"/>
              <a:gd name="connsiteY3" fmla="*/ 97473 h 1356847"/>
              <a:gd name="connsiteX4" fmla="*/ 2481103 w 2816341"/>
              <a:gd name="connsiteY4" fmla="*/ 1245722 h 1356847"/>
              <a:gd name="connsiteX5" fmla="*/ 243 w 2816341"/>
              <a:gd name="connsiteY5" fmla="*/ 1356847 h 1356847"/>
              <a:gd name="connsiteX0" fmla="*/ 321 w 2811656"/>
              <a:gd name="connsiteY0" fmla="*/ 1252072 h 1252072"/>
              <a:gd name="connsiteX1" fmla="*/ 8850 w 2811656"/>
              <a:gd name="connsiteY1" fmla="*/ 0 h 1252072"/>
              <a:gd name="connsiteX2" fmla="*/ 2597637 w 2811656"/>
              <a:gd name="connsiteY2" fmla="*/ 12108 h 1252072"/>
              <a:gd name="connsiteX3" fmla="*/ 2811656 w 2811656"/>
              <a:gd name="connsiteY3" fmla="*/ 97473 h 1252072"/>
              <a:gd name="connsiteX4" fmla="*/ 2476418 w 2811656"/>
              <a:gd name="connsiteY4" fmla="*/ 1245722 h 1252072"/>
              <a:gd name="connsiteX5" fmla="*/ 321 w 2811656"/>
              <a:gd name="connsiteY5" fmla="*/ 1252072 h 1252072"/>
              <a:gd name="connsiteX0" fmla="*/ 321 w 3675256"/>
              <a:gd name="connsiteY0" fmla="*/ 1252072 h 1252072"/>
              <a:gd name="connsiteX1" fmla="*/ 8850 w 3675256"/>
              <a:gd name="connsiteY1" fmla="*/ 0 h 1252072"/>
              <a:gd name="connsiteX2" fmla="*/ 2597637 w 3675256"/>
              <a:gd name="connsiteY2" fmla="*/ 12108 h 1252072"/>
              <a:gd name="connsiteX3" fmla="*/ 3675256 w 3675256"/>
              <a:gd name="connsiteY3" fmla="*/ 260033 h 1252072"/>
              <a:gd name="connsiteX4" fmla="*/ 2476418 w 3675256"/>
              <a:gd name="connsiteY4" fmla="*/ 1245722 h 1252072"/>
              <a:gd name="connsiteX5" fmla="*/ 321 w 3675256"/>
              <a:gd name="connsiteY5" fmla="*/ 1252072 h 1252072"/>
              <a:gd name="connsiteX0" fmla="*/ 321 w 3675256"/>
              <a:gd name="connsiteY0" fmla="*/ 1252072 h 1252072"/>
              <a:gd name="connsiteX1" fmla="*/ 8850 w 3675256"/>
              <a:gd name="connsiteY1" fmla="*/ 0 h 1252072"/>
              <a:gd name="connsiteX2" fmla="*/ 2597637 w 3675256"/>
              <a:gd name="connsiteY2" fmla="*/ 12108 h 1252072"/>
              <a:gd name="connsiteX3" fmla="*/ 3675256 w 3675256"/>
              <a:gd name="connsiteY3" fmla="*/ 260033 h 1252072"/>
              <a:gd name="connsiteX4" fmla="*/ 3014898 w 3675256"/>
              <a:gd name="connsiteY4" fmla="*/ 1250802 h 1252072"/>
              <a:gd name="connsiteX5" fmla="*/ 321 w 3675256"/>
              <a:gd name="connsiteY5" fmla="*/ 1252072 h 1252072"/>
              <a:gd name="connsiteX0" fmla="*/ 321 w 3675256"/>
              <a:gd name="connsiteY0" fmla="*/ 1252072 h 1252072"/>
              <a:gd name="connsiteX1" fmla="*/ 8850 w 3675256"/>
              <a:gd name="connsiteY1" fmla="*/ 0 h 1252072"/>
              <a:gd name="connsiteX2" fmla="*/ 2597637 w 3675256"/>
              <a:gd name="connsiteY2" fmla="*/ 12108 h 1252072"/>
              <a:gd name="connsiteX3" fmla="*/ 3074839 w 3675256"/>
              <a:gd name="connsiteY3" fmla="*/ 107040 h 1252072"/>
              <a:gd name="connsiteX4" fmla="*/ 3675256 w 3675256"/>
              <a:gd name="connsiteY4" fmla="*/ 260033 h 1252072"/>
              <a:gd name="connsiteX5" fmla="*/ 3014898 w 3675256"/>
              <a:gd name="connsiteY5" fmla="*/ 1250802 h 1252072"/>
              <a:gd name="connsiteX6" fmla="*/ 321 w 3675256"/>
              <a:gd name="connsiteY6" fmla="*/ 1252072 h 1252072"/>
              <a:gd name="connsiteX0" fmla="*/ 321 w 3675256"/>
              <a:gd name="connsiteY0" fmla="*/ 1252072 h 1252072"/>
              <a:gd name="connsiteX1" fmla="*/ 8850 w 3675256"/>
              <a:gd name="connsiteY1" fmla="*/ 0 h 1252072"/>
              <a:gd name="connsiteX2" fmla="*/ 2597637 w 3675256"/>
              <a:gd name="connsiteY2" fmla="*/ 12108 h 1252072"/>
              <a:gd name="connsiteX3" fmla="*/ 3151039 w 3675256"/>
              <a:gd name="connsiteY3" fmla="*/ 269600 h 1252072"/>
              <a:gd name="connsiteX4" fmla="*/ 3675256 w 3675256"/>
              <a:gd name="connsiteY4" fmla="*/ 260033 h 1252072"/>
              <a:gd name="connsiteX5" fmla="*/ 3014898 w 3675256"/>
              <a:gd name="connsiteY5" fmla="*/ 1250802 h 1252072"/>
              <a:gd name="connsiteX6" fmla="*/ 321 w 3675256"/>
              <a:gd name="connsiteY6" fmla="*/ 1252072 h 1252072"/>
              <a:gd name="connsiteX0" fmla="*/ 459 w 3675394"/>
              <a:gd name="connsiteY0" fmla="*/ 1247477 h 1247477"/>
              <a:gd name="connsiteX1" fmla="*/ 4393 w 3675394"/>
              <a:gd name="connsiteY1" fmla="*/ 0 h 1247477"/>
              <a:gd name="connsiteX2" fmla="*/ 2597775 w 3675394"/>
              <a:gd name="connsiteY2" fmla="*/ 7513 h 1247477"/>
              <a:gd name="connsiteX3" fmla="*/ 3151177 w 3675394"/>
              <a:gd name="connsiteY3" fmla="*/ 265005 h 1247477"/>
              <a:gd name="connsiteX4" fmla="*/ 3675394 w 3675394"/>
              <a:gd name="connsiteY4" fmla="*/ 255438 h 1247477"/>
              <a:gd name="connsiteX5" fmla="*/ 3015036 w 3675394"/>
              <a:gd name="connsiteY5" fmla="*/ 1246207 h 1247477"/>
              <a:gd name="connsiteX6" fmla="*/ 459 w 3675394"/>
              <a:gd name="connsiteY6" fmla="*/ 1247477 h 1247477"/>
              <a:gd name="connsiteX0" fmla="*/ 0 w 3674935"/>
              <a:gd name="connsiteY0" fmla="*/ 1247477 h 1247477"/>
              <a:gd name="connsiteX1" fmla="*/ 3934 w 3674935"/>
              <a:gd name="connsiteY1" fmla="*/ 0 h 1247477"/>
              <a:gd name="connsiteX2" fmla="*/ 2597316 w 3674935"/>
              <a:gd name="connsiteY2" fmla="*/ 7513 h 1247477"/>
              <a:gd name="connsiteX3" fmla="*/ 3150718 w 3674935"/>
              <a:gd name="connsiteY3" fmla="*/ 265005 h 1247477"/>
              <a:gd name="connsiteX4" fmla="*/ 3674935 w 3674935"/>
              <a:gd name="connsiteY4" fmla="*/ 255438 h 1247477"/>
              <a:gd name="connsiteX5" fmla="*/ 3014577 w 3674935"/>
              <a:gd name="connsiteY5" fmla="*/ 1246207 h 1247477"/>
              <a:gd name="connsiteX6" fmla="*/ 0 w 3674935"/>
              <a:gd name="connsiteY6" fmla="*/ 1247477 h 1247477"/>
              <a:gd name="connsiteX0" fmla="*/ 0 w 3674935"/>
              <a:gd name="connsiteY0" fmla="*/ 1249154 h 1249154"/>
              <a:gd name="connsiteX1" fmla="*/ 3934 w 3674935"/>
              <a:gd name="connsiteY1" fmla="*/ 1677 h 1249154"/>
              <a:gd name="connsiteX2" fmla="*/ 2601911 w 3674935"/>
              <a:gd name="connsiteY2" fmla="*/ 0 h 1249154"/>
              <a:gd name="connsiteX3" fmla="*/ 3150718 w 3674935"/>
              <a:gd name="connsiteY3" fmla="*/ 266682 h 1249154"/>
              <a:gd name="connsiteX4" fmla="*/ 3674935 w 3674935"/>
              <a:gd name="connsiteY4" fmla="*/ 257115 h 1249154"/>
              <a:gd name="connsiteX5" fmla="*/ 3014577 w 3674935"/>
              <a:gd name="connsiteY5" fmla="*/ 1247884 h 1249154"/>
              <a:gd name="connsiteX6" fmla="*/ 0 w 3674935"/>
              <a:gd name="connsiteY6" fmla="*/ 1249154 h 1249154"/>
              <a:gd name="connsiteX0" fmla="*/ 0 w 3661150"/>
              <a:gd name="connsiteY0" fmla="*/ 1249154 h 1249154"/>
              <a:gd name="connsiteX1" fmla="*/ 3934 w 3661150"/>
              <a:gd name="connsiteY1" fmla="*/ 1677 h 1249154"/>
              <a:gd name="connsiteX2" fmla="*/ 2601911 w 3661150"/>
              <a:gd name="connsiteY2" fmla="*/ 0 h 1249154"/>
              <a:gd name="connsiteX3" fmla="*/ 3150718 w 3661150"/>
              <a:gd name="connsiteY3" fmla="*/ 266682 h 1249154"/>
              <a:gd name="connsiteX4" fmla="*/ 3661150 w 3661150"/>
              <a:gd name="connsiteY4" fmla="*/ 257115 h 1249154"/>
              <a:gd name="connsiteX5" fmla="*/ 3014577 w 3661150"/>
              <a:gd name="connsiteY5" fmla="*/ 1247884 h 1249154"/>
              <a:gd name="connsiteX6" fmla="*/ 0 w 3661150"/>
              <a:gd name="connsiteY6" fmla="*/ 1249154 h 1249154"/>
              <a:gd name="connsiteX0" fmla="*/ 0 w 3656555"/>
              <a:gd name="connsiteY0" fmla="*/ 1249154 h 1249154"/>
              <a:gd name="connsiteX1" fmla="*/ 3934 w 3656555"/>
              <a:gd name="connsiteY1" fmla="*/ 1677 h 1249154"/>
              <a:gd name="connsiteX2" fmla="*/ 2601911 w 3656555"/>
              <a:gd name="connsiteY2" fmla="*/ 0 h 1249154"/>
              <a:gd name="connsiteX3" fmla="*/ 3150718 w 3656555"/>
              <a:gd name="connsiteY3" fmla="*/ 266682 h 1249154"/>
              <a:gd name="connsiteX4" fmla="*/ 3656555 w 3656555"/>
              <a:gd name="connsiteY4" fmla="*/ 275495 h 1249154"/>
              <a:gd name="connsiteX5" fmla="*/ 3014577 w 3656555"/>
              <a:gd name="connsiteY5" fmla="*/ 1247884 h 1249154"/>
              <a:gd name="connsiteX6" fmla="*/ 0 w 3656555"/>
              <a:gd name="connsiteY6" fmla="*/ 1249154 h 1249154"/>
              <a:gd name="connsiteX0" fmla="*/ 0 w 3656555"/>
              <a:gd name="connsiteY0" fmla="*/ 1249154 h 1249154"/>
              <a:gd name="connsiteX1" fmla="*/ 3934 w 3656555"/>
              <a:gd name="connsiteY1" fmla="*/ 1677 h 1249154"/>
              <a:gd name="connsiteX2" fmla="*/ 2601911 w 3656555"/>
              <a:gd name="connsiteY2" fmla="*/ 0 h 1249154"/>
              <a:gd name="connsiteX3" fmla="*/ 3150718 w 3656555"/>
              <a:gd name="connsiteY3" fmla="*/ 266682 h 1249154"/>
              <a:gd name="connsiteX4" fmla="*/ 3656555 w 3656555"/>
              <a:gd name="connsiteY4" fmla="*/ 275495 h 1249154"/>
              <a:gd name="connsiteX5" fmla="*/ 3014577 w 3656555"/>
              <a:gd name="connsiteY5" fmla="*/ 1247884 h 1249154"/>
              <a:gd name="connsiteX6" fmla="*/ 0 w 3656555"/>
              <a:gd name="connsiteY6" fmla="*/ 1249154 h 1249154"/>
              <a:gd name="connsiteX0" fmla="*/ 0 w 3656555"/>
              <a:gd name="connsiteY0" fmla="*/ 1249154 h 1249154"/>
              <a:gd name="connsiteX1" fmla="*/ 3934 w 3656555"/>
              <a:gd name="connsiteY1" fmla="*/ 1677 h 1249154"/>
              <a:gd name="connsiteX2" fmla="*/ 2601911 w 3656555"/>
              <a:gd name="connsiteY2" fmla="*/ 0 h 1249154"/>
              <a:gd name="connsiteX3" fmla="*/ 3150718 w 3656555"/>
              <a:gd name="connsiteY3" fmla="*/ 266682 h 1249154"/>
              <a:gd name="connsiteX4" fmla="*/ 3656555 w 3656555"/>
              <a:gd name="connsiteY4" fmla="*/ 269460 h 1249154"/>
              <a:gd name="connsiteX5" fmla="*/ 3014577 w 3656555"/>
              <a:gd name="connsiteY5" fmla="*/ 1247884 h 1249154"/>
              <a:gd name="connsiteX6" fmla="*/ 0 w 3656555"/>
              <a:gd name="connsiteY6" fmla="*/ 1249154 h 1249154"/>
              <a:gd name="connsiteX0" fmla="*/ 0 w 3653537"/>
              <a:gd name="connsiteY0" fmla="*/ 1249154 h 1249154"/>
              <a:gd name="connsiteX1" fmla="*/ 3934 w 3653537"/>
              <a:gd name="connsiteY1" fmla="*/ 1677 h 1249154"/>
              <a:gd name="connsiteX2" fmla="*/ 2601911 w 3653537"/>
              <a:gd name="connsiteY2" fmla="*/ 0 h 1249154"/>
              <a:gd name="connsiteX3" fmla="*/ 3150718 w 3653537"/>
              <a:gd name="connsiteY3" fmla="*/ 266682 h 1249154"/>
              <a:gd name="connsiteX4" fmla="*/ 3653537 w 3653537"/>
              <a:gd name="connsiteY4" fmla="*/ 269460 h 1249154"/>
              <a:gd name="connsiteX5" fmla="*/ 3014577 w 3653537"/>
              <a:gd name="connsiteY5" fmla="*/ 1247884 h 1249154"/>
              <a:gd name="connsiteX6" fmla="*/ 0 w 3653537"/>
              <a:gd name="connsiteY6" fmla="*/ 1249154 h 1249154"/>
              <a:gd name="connsiteX0" fmla="*/ 0 w 3653537"/>
              <a:gd name="connsiteY0" fmla="*/ 1249154 h 1249154"/>
              <a:gd name="connsiteX1" fmla="*/ 3934 w 3653537"/>
              <a:gd name="connsiteY1" fmla="*/ 1677 h 1249154"/>
              <a:gd name="connsiteX2" fmla="*/ 2601911 w 3653537"/>
              <a:gd name="connsiteY2" fmla="*/ 0 h 1249154"/>
              <a:gd name="connsiteX3" fmla="*/ 3150718 w 3653537"/>
              <a:gd name="connsiteY3" fmla="*/ 266682 h 1249154"/>
              <a:gd name="connsiteX4" fmla="*/ 3653537 w 3653537"/>
              <a:gd name="connsiteY4" fmla="*/ 269460 h 1249154"/>
              <a:gd name="connsiteX5" fmla="*/ 3020612 w 3653537"/>
              <a:gd name="connsiteY5" fmla="*/ 1244866 h 1249154"/>
              <a:gd name="connsiteX6" fmla="*/ 0 w 3653537"/>
              <a:gd name="connsiteY6" fmla="*/ 1249154 h 1249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53537" h="1249154">
                <a:moveTo>
                  <a:pt x="0" y="1249154"/>
                </a:moveTo>
                <a:cubicBezTo>
                  <a:pt x="1311" y="833328"/>
                  <a:pt x="2623" y="417503"/>
                  <a:pt x="3934" y="1677"/>
                </a:cubicBezTo>
                <a:lnTo>
                  <a:pt x="2601911" y="0"/>
                </a:lnTo>
                <a:lnTo>
                  <a:pt x="3150718" y="266682"/>
                </a:lnTo>
                <a:lnTo>
                  <a:pt x="3653537" y="269460"/>
                </a:lnTo>
                <a:lnTo>
                  <a:pt x="3020612" y="1244866"/>
                </a:lnTo>
                <a:lnTo>
                  <a:pt x="0" y="1249154"/>
                </a:lnTo>
                <a:close/>
              </a:path>
            </a:pathLst>
          </a:custGeom>
          <a:gradFill>
            <a:gsLst>
              <a:gs pos="0">
                <a:schemeClr val="bg2">
                  <a:lumMod val="75000"/>
                  <a:alpha val="85000"/>
                </a:schemeClr>
              </a:gs>
              <a:gs pos="100000">
                <a:schemeClr val="bg2">
                  <a:alpha val="85000"/>
                </a:schemeClr>
              </a:gs>
            </a:gsLst>
            <a:lin ang="5400000" scaled="0"/>
          </a:gradFill>
          <a:ln w="19050">
            <a:noFill/>
          </a:ln>
        </p:spPr>
        <p:txBody>
          <a:bodyPr vert="horz" lIns="454941" tIns="37851" rIns="75702" bIns="72790" rtlCol="0" anchor="ctr" anchorCtr="0">
            <a:noAutofit/>
          </a:bodyPr>
          <a:lstStyle>
            <a:lvl1pPr marL="342900" indent="-342900">
              <a:buFontTx/>
              <a:buNone/>
              <a:defRPr lang="en-US" sz="1094" dirty="0">
                <a:solidFill>
                  <a:srgbClr val="424949"/>
                </a:solidFill>
              </a:defRPr>
            </a:lvl1pPr>
          </a:lstStyle>
          <a:p>
            <a:pPr marL="0" lvl="0" indent="0" algn="ctr">
              <a:buNone/>
            </a:pPr>
            <a:r>
              <a:rPr lang="en-US" dirty="0"/>
              <a:t> </a:t>
            </a:r>
          </a:p>
        </p:txBody>
      </p:sp>
      <p:sp>
        <p:nvSpPr>
          <p:cNvPr id="14" name="Text Placeholder 33">
            <a:extLst>
              <a:ext uri="{FF2B5EF4-FFF2-40B4-BE49-F238E27FC236}">
                <a16:creationId xmlns:a16="http://schemas.microsoft.com/office/drawing/2014/main" id="{B1ED78A0-A56B-4703-A84F-DDB45C4928AA}"/>
              </a:ext>
            </a:extLst>
          </p:cNvPr>
          <p:cNvSpPr>
            <a:spLocks noGrp="1"/>
          </p:cNvSpPr>
          <p:nvPr>
            <p:ph type="body" sz="quarter" idx="22" hasCustomPrompt="1"/>
          </p:nvPr>
        </p:nvSpPr>
        <p:spPr>
          <a:xfrm>
            <a:off x="-12466" y="4882452"/>
            <a:ext cx="5344068" cy="1070462"/>
          </a:xfrm>
          <a:custGeom>
            <a:avLst/>
            <a:gdLst>
              <a:gd name="connsiteX0" fmla="*/ 0 w 2926080"/>
              <a:gd name="connsiteY0" fmla="*/ 1495912 h 1495912"/>
              <a:gd name="connsiteX1" fmla="*/ 449537 w 2926080"/>
              <a:gd name="connsiteY1" fmla="*/ 0 h 1495912"/>
              <a:gd name="connsiteX2" fmla="*/ 2926080 w 2926080"/>
              <a:gd name="connsiteY2" fmla="*/ 0 h 1495912"/>
              <a:gd name="connsiteX3" fmla="*/ 2476543 w 2926080"/>
              <a:gd name="connsiteY3" fmla="*/ 1495912 h 1495912"/>
              <a:gd name="connsiteX4" fmla="*/ 0 w 2926080"/>
              <a:gd name="connsiteY4" fmla="*/ 1495912 h 1495912"/>
              <a:gd name="connsiteX0" fmla="*/ 0 w 2926080"/>
              <a:gd name="connsiteY0" fmla="*/ 1495912 h 1495912"/>
              <a:gd name="connsiteX1" fmla="*/ 449537 w 2926080"/>
              <a:gd name="connsiteY1" fmla="*/ 0 h 1495912"/>
              <a:gd name="connsiteX2" fmla="*/ 2926080 w 2926080"/>
              <a:gd name="connsiteY2" fmla="*/ 0 h 1495912"/>
              <a:gd name="connsiteX3" fmla="*/ 2918503 w 2926080"/>
              <a:gd name="connsiteY3" fmla="*/ 1038712 h 1495912"/>
              <a:gd name="connsiteX4" fmla="*/ 0 w 2926080"/>
              <a:gd name="connsiteY4" fmla="*/ 1495912 h 1495912"/>
              <a:gd name="connsiteX0" fmla="*/ 0 w 2606040"/>
              <a:gd name="connsiteY0" fmla="*/ 1114912 h 1114912"/>
              <a:gd name="connsiteX1" fmla="*/ 129497 w 2606040"/>
              <a:gd name="connsiteY1" fmla="*/ 0 h 1114912"/>
              <a:gd name="connsiteX2" fmla="*/ 2606040 w 2606040"/>
              <a:gd name="connsiteY2" fmla="*/ 0 h 1114912"/>
              <a:gd name="connsiteX3" fmla="*/ 2598463 w 2606040"/>
              <a:gd name="connsiteY3" fmla="*/ 1038712 h 1114912"/>
              <a:gd name="connsiteX4" fmla="*/ 0 w 2606040"/>
              <a:gd name="connsiteY4" fmla="*/ 1114912 h 1114912"/>
              <a:gd name="connsiteX0" fmla="*/ 0 w 2606040"/>
              <a:gd name="connsiteY0" fmla="*/ 1114912 h 1114912"/>
              <a:gd name="connsiteX1" fmla="*/ 921977 w 2606040"/>
              <a:gd name="connsiteY1" fmla="*/ 0 h 1114912"/>
              <a:gd name="connsiteX2" fmla="*/ 2606040 w 2606040"/>
              <a:gd name="connsiteY2" fmla="*/ 0 h 1114912"/>
              <a:gd name="connsiteX3" fmla="*/ 2598463 w 2606040"/>
              <a:gd name="connsiteY3" fmla="*/ 1038712 h 1114912"/>
              <a:gd name="connsiteX4" fmla="*/ 0 w 2606040"/>
              <a:gd name="connsiteY4" fmla="*/ 1114912 h 1114912"/>
              <a:gd name="connsiteX0" fmla="*/ 0 w 2606040"/>
              <a:gd name="connsiteY0" fmla="*/ 1114912 h 1114912"/>
              <a:gd name="connsiteX1" fmla="*/ 441220 w 2606040"/>
              <a:gd name="connsiteY1" fmla="*/ 596328 h 1114912"/>
              <a:gd name="connsiteX2" fmla="*/ 921977 w 2606040"/>
              <a:gd name="connsiteY2" fmla="*/ 0 h 1114912"/>
              <a:gd name="connsiteX3" fmla="*/ 2606040 w 2606040"/>
              <a:gd name="connsiteY3" fmla="*/ 0 h 1114912"/>
              <a:gd name="connsiteX4" fmla="*/ 2598463 w 2606040"/>
              <a:gd name="connsiteY4" fmla="*/ 1038712 h 1114912"/>
              <a:gd name="connsiteX5" fmla="*/ 0 w 2606040"/>
              <a:gd name="connsiteY5" fmla="*/ 1114912 h 1114912"/>
              <a:gd name="connsiteX0" fmla="*/ 0 w 2606040"/>
              <a:gd name="connsiteY0" fmla="*/ 1114912 h 1114912"/>
              <a:gd name="connsiteX1" fmla="*/ 357400 w 2606040"/>
              <a:gd name="connsiteY1" fmla="*/ 916368 h 1114912"/>
              <a:gd name="connsiteX2" fmla="*/ 921977 w 2606040"/>
              <a:gd name="connsiteY2" fmla="*/ 0 h 1114912"/>
              <a:gd name="connsiteX3" fmla="*/ 2606040 w 2606040"/>
              <a:gd name="connsiteY3" fmla="*/ 0 h 1114912"/>
              <a:gd name="connsiteX4" fmla="*/ 2598463 w 2606040"/>
              <a:gd name="connsiteY4" fmla="*/ 1038712 h 1114912"/>
              <a:gd name="connsiteX5" fmla="*/ 0 w 2606040"/>
              <a:gd name="connsiteY5" fmla="*/ 1114912 h 1114912"/>
              <a:gd name="connsiteX0" fmla="*/ 0 w 2606040"/>
              <a:gd name="connsiteY0" fmla="*/ 1114912 h 1114912"/>
              <a:gd name="connsiteX1" fmla="*/ 357400 w 2606040"/>
              <a:gd name="connsiteY1" fmla="*/ 916368 h 1114912"/>
              <a:gd name="connsiteX2" fmla="*/ 174520 w 2606040"/>
              <a:gd name="connsiteY2" fmla="*/ 1015428 h 1114912"/>
              <a:gd name="connsiteX3" fmla="*/ 921977 w 2606040"/>
              <a:gd name="connsiteY3" fmla="*/ 0 h 1114912"/>
              <a:gd name="connsiteX4" fmla="*/ 2606040 w 2606040"/>
              <a:gd name="connsiteY4" fmla="*/ 0 h 1114912"/>
              <a:gd name="connsiteX5" fmla="*/ 2598463 w 2606040"/>
              <a:gd name="connsiteY5" fmla="*/ 1038712 h 1114912"/>
              <a:gd name="connsiteX6" fmla="*/ 0 w 2606040"/>
              <a:gd name="connsiteY6" fmla="*/ 1114912 h 1114912"/>
              <a:gd name="connsiteX0" fmla="*/ 0 w 2606040"/>
              <a:gd name="connsiteY0" fmla="*/ 1114912 h 1114912"/>
              <a:gd name="connsiteX1" fmla="*/ 357400 w 2606040"/>
              <a:gd name="connsiteY1" fmla="*/ 916368 h 1114912"/>
              <a:gd name="connsiteX2" fmla="*/ 428520 w 2606040"/>
              <a:gd name="connsiteY2" fmla="*/ 744495 h 1114912"/>
              <a:gd name="connsiteX3" fmla="*/ 921977 w 2606040"/>
              <a:gd name="connsiteY3" fmla="*/ 0 h 1114912"/>
              <a:gd name="connsiteX4" fmla="*/ 2606040 w 2606040"/>
              <a:gd name="connsiteY4" fmla="*/ 0 h 1114912"/>
              <a:gd name="connsiteX5" fmla="*/ 2598463 w 2606040"/>
              <a:gd name="connsiteY5" fmla="*/ 1038712 h 1114912"/>
              <a:gd name="connsiteX6" fmla="*/ 0 w 2606040"/>
              <a:gd name="connsiteY6" fmla="*/ 1114912 h 1114912"/>
              <a:gd name="connsiteX0" fmla="*/ 0 w 2606040"/>
              <a:gd name="connsiteY0" fmla="*/ 1114912 h 1114912"/>
              <a:gd name="connsiteX1" fmla="*/ 160973 w 2606040"/>
              <a:gd name="connsiteY1" fmla="*/ 1018815 h 1114912"/>
              <a:gd name="connsiteX2" fmla="*/ 357400 w 2606040"/>
              <a:gd name="connsiteY2" fmla="*/ 916368 h 1114912"/>
              <a:gd name="connsiteX3" fmla="*/ 428520 w 2606040"/>
              <a:gd name="connsiteY3" fmla="*/ 744495 h 1114912"/>
              <a:gd name="connsiteX4" fmla="*/ 921977 w 2606040"/>
              <a:gd name="connsiteY4" fmla="*/ 0 h 1114912"/>
              <a:gd name="connsiteX5" fmla="*/ 2606040 w 2606040"/>
              <a:gd name="connsiteY5" fmla="*/ 0 h 1114912"/>
              <a:gd name="connsiteX6" fmla="*/ 2598463 w 2606040"/>
              <a:gd name="connsiteY6" fmla="*/ 1038712 h 1114912"/>
              <a:gd name="connsiteX7" fmla="*/ 0 w 2606040"/>
              <a:gd name="connsiteY7" fmla="*/ 1114912 h 1114912"/>
              <a:gd name="connsiteX0" fmla="*/ 0 w 5342890"/>
              <a:gd name="connsiteY0" fmla="*/ 1070462 h 1070462"/>
              <a:gd name="connsiteX1" fmla="*/ 2897823 w 5342890"/>
              <a:gd name="connsiteY1" fmla="*/ 1018815 h 1070462"/>
              <a:gd name="connsiteX2" fmla="*/ 3094250 w 5342890"/>
              <a:gd name="connsiteY2" fmla="*/ 916368 h 1070462"/>
              <a:gd name="connsiteX3" fmla="*/ 3165370 w 5342890"/>
              <a:gd name="connsiteY3" fmla="*/ 744495 h 1070462"/>
              <a:gd name="connsiteX4" fmla="*/ 3658827 w 5342890"/>
              <a:gd name="connsiteY4" fmla="*/ 0 h 1070462"/>
              <a:gd name="connsiteX5" fmla="*/ 5342890 w 5342890"/>
              <a:gd name="connsiteY5" fmla="*/ 0 h 1070462"/>
              <a:gd name="connsiteX6" fmla="*/ 5335313 w 5342890"/>
              <a:gd name="connsiteY6" fmla="*/ 1038712 h 1070462"/>
              <a:gd name="connsiteX7" fmla="*/ 0 w 5342890"/>
              <a:gd name="connsiteY7" fmla="*/ 1070462 h 1070462"/>
              <a:gd name="connsiteX0" fmla="*/ 4127 w 5347017"/>
              <a:gd name="connsiteY0" fmla="*/ 1070462 h 1070462"/>
              <a:gd name="connsiteX1" fmla="*/ 0 w 5347017"/>
              <a:gd name="connsiteY1" fmla="*/ 987065 h 1070462"/>
              <a:gd name="connsiteX2" fmla="*/ 3098377 w 5347017"/>
              <a:gd name="connsiteY2" fmla="*/ 916368 h 1070462"/>
              <a:gd name="connsiteX3" fmla="*/ 3169497 w 5347017"/>
              <a:gd name="connsiteY3" fmla="*/ 744495 h 1070462"/>
              <a:gd name="connsiteX4" fmla="*/ 3662954 w 5347017"/>
              <a:gd name="connsiteY4" fmla="*/ 0 h 1070462"/>
              <a:gd name="connsiteX5" fmla="*/ 5347017 w 5347017"/>
              <a:gd name="connsiteY5" fmla="*/ 0 h 1070462"/>
              <a:gd name="connsiteX6" fmla="*/ 5339440 w 5347017"/>
              <a:gd name="connsiteY6" fmla="*/ 1038712 h 1070462"/>
              <a:gd name="connsiteX7" fmla="*/ 4127 w 5347017"/>
              <a:gd name="connsiteY7" fmla="*/ 1070462 h 1070462"/>
              <a:gd name="connsiteX0" fmla="*/ 4127 w 5347017"/>
              <a:gd name="connsiteY0" fmla="*/ 1070462 h 1070462"/>
              <a:gd name="connsiteX1" fmla="*/ 0 w 5347017"/>
              <a:gd name="connsiteY1" fmla="*/ 987065 h 1070462"/>
              <a:gd name="connsiteX2" fmla="*/ 3041227 w 5347017"/>
              <a:gd name="connsiteY2" fmla="*/ 973518 h 1070462"/>
              <a:gd name="connsiteX3" fmla="*/ 3169497 w 5347017"/>
              <a:gd name="connsiteY3" fmla="*/ 744495 h 1070462"/>
              <a:gd name="connsiteX4" fmla="*/ 3662954 w 5347017"/>
              <a:gd name="connsiteY4" fmla="*/ 0 h 1070462"/>
              <a:gd name="connsiteX5" fmla="*/ 5347017 w 5347017"/>
              <a:gd name="connsiteY5" fmla="*/ 0 h 1070462"/>
              <a:gd name="connsiteX6" fmla="*/ 5339440 w 5347017"/>
              <a:gd name="connsiteY6" fmla="*/ 1038712 h 1070462"/>
              <a:gd name="connsiteX7" fmla="*/ 4127 w 5347017"/>
              <a:gd name="connsiteY7" fmla="*/ 1070462 h 1070462"/>
              <a:gd name="connsiteX0" fmla="*/ 4127 w 5347017"/>
              <a:gd name="connsiteY0" fmla="*/ 1070462 h 1070462"/>
              <a:gd name="connsiteX1" fmla="*/ 0 w 5347017"/>
              <a:gd name="connsiteY1" fmla="*/ 987065 h 1070462"/>
              <a:gd name="connsiteX2" fmla="*/ 3041227 w 5347017"/>
              <a:gd name="connsiteY2" fmla="*/ 973518 h 1070462"/>
              <a:gd name="connsiteX3" fmla="*/ 3662954 w 5347017"/>
              <a:gd name="connsiteY3" fmla="*/ 0 h 1070462"/>
              <a:gd name="connsiteX4" fmla="*/ 5347017 w 5347017"/>
              <a:gd name="connsiteY4" fmla="*/ 0 h 1070462"/>
              <a:gd name="connsiteX5" fmla="*/ 5339440 w 5347017"/>
              <a:gd name="connsiteY5" fmla="*/ 1038712 h 1070462"/>
              <a:gd name="connsiteX6" fmla="*/ 4127 w 5347017"/>
              <a:gd name="connsiteY6" fmla="*/ 1070462 h 1070462"/>
              <a:gd name="connsiteX0" fmla="*/ 4127 w 5358753"/>
              <a:gd name="connsiteY0" fmla="*/ 1070462 h 1070462"/>
              <a:gd name="connsiteX1" fmla="*/ 0 w 5358753"/>
              <a:gd name="connsiteY1" fmla="*/ 987065 h 1070462"/>
              <a:gd name="connsiteX2" fmla="*/ 3041227 w 5358753"/>
              <a:gd name="connsiteY2" fmla="*/ 973518 h 1070462"/>
              <a:gd name="connsiteX3" fmla="*/ 3662954 w 5358753"/>
              <a:gd name="connsiteY3" fmla="*/ 0 h 1070462"/>
              <a:gd name="connsiteX4" fmla="*/ 5347017 w 5358753"/>
              <a:gd name="connsiteY4" fmla="*/ 0 h 1070462"/>
              <a:gd name="connsiteX5" fmla="*/ 5358490 w 5358753"/>
              <a:gd name="connsiteY5" fmla="*/ 1064112 h 1070462"/>
              <a:gd name="connsiteX6" fmla="*/ 4127 w 5358753"/>
              <a:gd name="connsiteY6" fmla="*/ 1070462 h 1070462"/>
              <a:gd name="connsiteX0" fmla="*/ 0 w 5354626"/>
              <a:gd name="connsiteY0" fmla="*/ 1070462 h 1070462"/>
              <a:gd name="connsiteX1" fmla="*/ 4926 w 5354626"/>
              <a:gd name="connsiteY1" fmla="*/ 987065 h 1070462"/>
              <a:gd name="connsiteX2" fmla="*/ 3037100 w 5354626"/>
              <a:gd name="connsiteY2" fmla="*/ 973518 h 1070462"/>
              <a:gd name="connsiteX3" fmla="*/ 3658827 w 5354626"/>
              <a:gd name="connsiteY3" fmla="*/ 0 h 1070462"/>
              <a:gd name="connsiteX4" fmla="*/ 5342890 w 5354626"/>
              <a:gd name="connsiteY4" fmla="*/ 0 h 1070462"/>
              <a:gd name="connsiteX5" fmla="*/ 5354363 w 5354626"/>
              <a:gd name="connsiteY5" fmla="*/ 1064112 h 1070462"/>
              <a:gd name="connsiteX6" fmla="*/ 0 w 5354626"/>
              <a:gd name="connsiteY6" fmla="*/ 1070462 h 1070462"/>
              <a:gd name="connsiteX0" fmla="*/ 1109 w 5349700"/>
              <a:gd name="connsiteY0" fmla="*/ 1070462 h 1070462"/>
              <a:gd name="connsiteX1" fmla="*/ 0 w 5349700"/>
              <a:gd name="connsiteY1" fmla="*/ 987065 h 1070462"/>
              <a:gd name="connsiteX2" fmla="*/ 3032174 w 5349700"/>
              <a:gd name="connsiteY2" fmla="*/ 973518 h 1070462"/>
              <a:gd name="connsiteX3" fmla="*/ 3653901 w 5349700"/>
              <a:gd name="connsiteY3" fmla="*/ 0 h 1070462"/>
              <a:gd name="connsiteX4" fmla="*/ 5337964 w 5349700"/>
              <a:gd name="connsiteY4" fmla="*/ 0 h 1070462"/>
              <a:gd name="connsiteX5" fmla="*/ 5349437 w 5349700"/>
              <a:gd name="connsiteY5" fmla="*/ 1064112 h 1070462"/>
              <a:gd name="connsiteX6" fmla="*/ 1109 w 5349700"/>
              <a:gd name="connsiteY6" fmla="*/ 1070462 h 1070462"/>
              <a:gd name="connsiteX0" fmla="*/ 533933 w 5882524"/>
              <a:gd name="connsiteY0" fmla="*/ 1070462 h 1070474"/>
              <a:gd name="connsiteX1" fmla="*/ 532824 w 5882524"/>
              <a:gd name="connsiteY1" fmla="*/ 987065 h 1070474"/>
              <a:gd name="connsiteX2" fmla="*/ 3564998 w 5882524"/>
              <a:gd name="connsiteY2" fmla="*/ 973518 h 1070474"/>
              <a:gd name="connsiteX3" fmla="*/ 4186725 w 5882524"/>
              <a:gd name="connsiteY3" fmla="*/ 0 h 1070474"/>
              <a:gd name="connsiteX4" fmla="*/ 5870788 w 5882524"/>
              <a:gd name="connsiteY4" fmla="*/ 0 h 1070474"/>
              <a:gd name="connsiteX5" fmla="*/ 5882261 w 5882524"/>
              <a:gd name="connsiteY5" fmla="*/ 1064112 h 1070474"/>
              <a:gd name="connsiteX6" fmla="*/ 533933 w 5882524"/>
              <a:gd name="connsiteY6" fmla="*/ 1070462 h 1070474"/>
              <a:gd name="connsiteX0" fmla="*/ 1109 w 5349700"/>
              <a:gd name="connsiteY0" fmla="*/ 1070462 h 1070462"/>
              <a:gd name="connsiteX1" fmla="*/ 0 w 5349700"/>
              <a:gd name="connsiteY1" fmla="*/ 987065 h 1070462"/>
              <a:gd name="connsiteX2" fmla="*/ 3032174 w 5349700"/>
              <a:gd name="connsiteY2" fmla="*/ 973518 h 1070462"/>
              <a:gd name="connsiteX3" fmla="*/ 3653901 w 5349700"/>
              <a:gd name="connsiteY3" fmla="*/ 0 h 1070462"/>
              <a:gd name="connsiteX4" fmla="*/ 5337964 w 5349700"/>
              <a:gd name="connsiteY4" fmla="*/ 0 h 1070462"/>
              <a:gd name="connsiteX5" fmla="*/ 5349437 w 5349700"/>
              <a:gd name="connsiteY5" fmla="*/ 1064112 h 1070462"/>
              <a:gd name="connsiteX6" fmla="*/ 1109 w 5349700"/>
              <a:gd name="connsiteY6" fmla="*/ 1070462 h 1070462"/>
              <a:gd name="connsiteX0" fmla="*/ 392406 w 5740997"/>
              <a:gd name="connsiteY0" fmla="*/ 1070462 h 1070462"/>
              <a:gd name="connsiteX1" fmla="*/ 403522 w 5740997"/>
              <a:gd name="connsiteY1" fmla="*/ 987065 h 1070462"/>
              <a:gd name="connsiteX2" fmla="*/ 3423471 w 5740997"/>
              <a:gd name="connsiteY2" fmla="*/ 973518 h 1070462"/>
              <a:gd name="connsiteX3" fmla="*/ 4045198 w 5740997"/>
              <a:gd name="connsiteY3" fmla="*/ 0 h 1070462"/>
              <a:gd name="connsiteX4" fmla="*/ 5729261 w 5740997"/>
              <a:gd name="connsiteY4" fmla="*/ 0 h 1070462"/>
              <a:gd name="connsiteX5" fmla="*/ 5740734 w 5740997"/>
              <a:gd name="connsiteY5" fmla="*/ 1064112 h 1070462"/>
              <a:gd name="connsiteX6" fmla="*/ 392406 w 5740997"/>
              <a:gd name="connsiteY6" fmla="*/ 1070462 h 1070462"/>
              <a:gd name="connsiteX0" fmla="*/ 392406 w 5740997"/>
              <a:gd name="connsiteY0" fmla="*/ 1070462 h 1070462"/>
              <a:gd name="connsiteX1" fmla="*/ 403522 w 5740997"/>
              <a:gd name="connsiteY1" fmla="*/ 987065 h 1070462"/>
              <a:gd name="connsiteX2" fmla="*/ 3423471 w 5740997"/>
              <a:gd name="connsiteY2" fmla="*/ 973518 h 1070462"/>
              <a:gd name="connsiteX3" fmla="*/ 4045198 w 5740997"/>
              <a:gd name="connsiteY3" fmla="*/ 0 h 1070462"/>
              <a:gd name="connsiteX4" fmla="*/ 5729261 w 5740997"/>
              <a:gd name="connsiteY4" fmla="*/ 0 h 1070462"/>
              <a:gd name="connsiteX5" fmla="*/ 5740734 w 5740997"/>
              <a:gd name="connsiteY5" fmla="*/ 1064112 h 1070462"/>
              <a:gd name="connsiteX6" fmla="*/ 392406 w 5740997"/>
              <a:gd name="connsiteY6" fmla="*/ 1070462 h 1070462"/>
              <a:gd name="connsiteX0" fmla="*/ 393660 w 5737361"/>
              <a:gd name="connsiteY0" fmla="*/ 1070462 h 1070462"/>
              <a:gd name="connsiteX1" fmla="*/ 399886 w 5737361"/>
              <a:gd name="connsiteY1" fmla="*/ 987065 h 1070462"/>
              <a:gd name="connsiteX2" fmla="*/ 3419835 w 5737361"/>
              <a:gd name="connsiteY2" fmla="*/ 973518 h 1070462"/>
              <a:gd name="connsiteX3" fmla="*/ 4041562 w 5737361"/>
              <a:gd name="connsiteY3" fmla="*/ 0 h 1070462"/>
              <a:gd name="connsiteX4" fmla="*/ 5725625 w 5737361"/>
              <a:gd name="connsiteY4" fmla="*/ 0 h 1070462"/>
              <a:gd name="connsiteX5" fmla="*/ 5737098 w 5737361"/>
              <a:gd name="connsiteY5" fmla="*/ 1064112 h 1070462"/>
              <a:gd name="connsiteX6" fmla="*/ 393660 w 5737361"/>
              <a:gd name="connsiteY6" fmla="*/ 1070462 h 1070462"/>
              <a:gd name="connsiteX0" fmla="*/ 0 w 5343701"/>
              <a:gd name="connsiteY0" fmla="*/ 1070462 h 1070462"/>
              <a:gd name="connsiteX1" fmla="*/ 6226 w 5343701"/>
              <a:gd name="connsiteY1" fmla="*/ 987065 h 1070462"/>
              <a:gd name="connsiteX2" fmla="*/ 3026175 w 5343701"/>
              <a:gd name="connsiteY2" fmla="*/ 973518 h 1070462"/>
              <a:gd name="connsiteX3" fmla="*/ 3647902 w 5343701"/>
              <a:gd name="connsiteY3" fmla="*/ 0 h 1070462"/>
              <a:gd name="connsiteX4" fmla="*/ 5331965 w 5343701"/>
              <a:gd name="connsiteY4" fmla="*/ 0 h 1070462"/>
              <a:gd name="connsiteX5" fmla="*/ 5343438 w 5343701"/>
              <a:gd name="connsiteY5" fmla="*/ 1064112 h 1070462"/>
              <a:gd name="connsiteX6" fmla="*/ 0 w 5343701"/>
              <a:gd name="connsiteY6" fmla="*/ 1070462 h 1070462"/>
              <a:gd name="connsiteX0" fmla="*/ 395463 w 5739164"/>
              <a:gd name="connsiteY0" fmla="*/ 1070462 h 1070462"/>
              <a:gd name="connsiteX1" fmla="*/ 396799 w 5739164"/>
              <a:gd name="connsiteY1" fmla="*/ 984620 h 1070462"/>
              <a:gd name="connsiteX2" fmla="*/ 3421638 w 5739164"/>
              <a:gd name="connsiteY2" fmla="*/ 973518 h 1070462"/>
              <a:gd name="connsiteX3" fmla="*/ 4043365 w 5739164"/>
              <a:gd name="connsiteY3" fmla="*/ 0 h 1070462"/>
              <a:gd name="connsiteX4" fmla="*/ 5727428 w 5739164"/>
              <a:gd name="connsiteY4" fmla="*/ 0 h 1070462"/>
              <a:gd name="connsiteX5" fmla="*/ 5738901 w 5739164"/>
              <a:gd name="connsiteY5" fmla="*/ 1064112 h 1070462"/>
              <a:gd name="connsiteX6" fmla="*/ 395463 w 5739164"/>
              <a:gd name="connsiteY6" fmla="*/ 1070462 h 1070462"/>
              <a:gd name="connsiteX0" fmla="*/ 395463 w 5739164"/>
              <a:gd name="connsiteY0" fmla="*/ 1070462 h 1070462"/>
              <a:gd name="connsiteX1" fmla="*/ 396799 w 5739164"/>
              <a:gd name="connsiteY1" fmla="*/ 987065 h 1070462"/>
              <a:gd name="connsiteX2" fmla="*/ 3421638 w 5739164"/>
              <a:gd name="connsiteY2" fmla="*/ 973518 h 1070462"/>
              <a:gd name="connsiteX3" fmla="*/ 4043365 w 5739164"/>
              <a:gd name="connsiteY3" fmla="*/ 0 h 1070462"/>
              <a:gd name="connsiteX4" fmla="*/ 5727428 w 5739164"/>
              <a:gd name="connsiteY4" fmla="*/ 0 h 1070462"/>
              <a:gd name="connsiteX5" fmla="*/ 5738901 w 5739164"/>
              <a:gd name="connsiteY5" fmla="*/ 1064112 h 1070462"/>
              <a:gd name="connsiteX6" fmla="*/ 395463 w 5739164"/>
              <a:gd name="connsiteY6" fmla="*/ 1070462 h 1070462"/>
              <a:gd name="connsiteX0" fmla="*/ 532222 w 5875923"/>
              <a:gd name="connsiteY0" fmla="*/ 1070462 h 1070462"/>
              <a:gd name="connsiteX1" fmla="*/ 533558 w 5875923"/>
              <a:gd name="connsiteY1" fmla="*/ 987065 h 1070462"/>
              <a:gd name="connsiteX2" fmla="*/ 3558397 w 5875923"/>
              <a:gd name="connsiteY2" fmla="*/ 973518 h 1070462"/>
              <a:gd name="connsiteX3" fmla="*/ 4180124 w 5875923"/>
              <a:gd name="connsiteY3" fmla="*/ 0 h 1070462"/>
              <a:gd name="connsiteX4" fmla="*/ 5864187 w 5875923"/>
              <a:gd name="connsiteY4" fmla="*/ 0 h 1070462"/>
              <a:gd name="connsiteX5" fmla="*/ 5875660 w 5875923"/>
              <a:gd name="connsiteY5" fmla="*/ 1064112 h 1070462"/>
              <a:gd name="connsiteX6" fmla="*/ 532222 w 5875923"/>
              <a:gd name="connsiteY6" fmla="*/ 1070462 h 1070462"/>
              <a:gd name="connsiteX0" fmla="*/ 0 w 5343701"/>
              <a:gd name="connsiteY0" fmla="*/ 1070462 h 1070462"/>
              <a:gd name="connsiteX1" fmla="*/ 1336 w 5343701"/>
              <a:gd name="connsiteY1" fmla="*/ 987065 h 1070462"/>
              <a:gd name="connsiteX2" fmla="*/ 3026175 w 5343701"/>
              <a:gd name="connsiteY2" fmla="*/ 973518 h 1070462"/>
              <a:gd name="connsiteX3" fmla="*/ 3647902 w 5343701"/>
              <a:gd name="connsiteY3" fmla="*/ 0 h 1070462"/>
              <a:gd name="connsiteX4" fmla="*/ 5331965 w 5343701"/>
              <a:gd name="connsiteY4" fmla="*/ 0 h 1070462"/>
              <a:gd name="connsiteX5" fmla="*/ 5343438 w 5343701"/>
              <a:gd name="connsiteY5" fmla="*/ 1064112 h 1070462"/>
              <a:gd name="connsiteX6" fmla="*/ 0 w 5343701"/>
              <a:gd name="connsiteY6" fmla="*/ 1070462 h 1070462"/>
              <a:gd name="connsiteX0" fmla="*/ 0 w 5344068"/>
              <a:gd name="connsiteY0" fmla="*/ 1070462 h 1070462"/>
              <a:gd name="connsiteX1" fmla="*/ 1336 w 5344068"/>
              <a:gd name="connsiteY1" fmla="*/ 987065 h 1070462"/>
              <a:gd name="connsiteX2" fmla="*/ 3026175 w 5344068"/>
              <a:gd name="connsiteY2" fmla="*/ 973518 h 1070462"/>
              <a:gd name="connsiteX3" fmla="*/ 3647902 w 5344068"/>
              <a:gd name="connsiteY3" fmla="*/ 0 h 1070462"/>
              <a:gd name="connsiteX4" fmla="*/ 5342445 w 5344068"/>
              <a:gd name="connsiteY4" fmla="*/ 0 h 1070462"/>
              <a:gd name="connsiteX5" fmla="*/ 5343438 w 5344068"/>
              <a:gd name="connsiteY5" fmla="*/ 1064112 h 1070462"/>
              <a:gd name="connsiteX6" fmla="*/ 0 w 5344068"/>
              <a:gd name="connsiteY6" fmla="*/ 1070462 h 1070462"/>
              <a:gd name="connsiteX0" fmla="*/ 395463 w 5739531"/>
              <a:gd name="connsiteY0" fmla="*/ 1070462 h 1070462"/>
              <a:gd name="connsiteX1" fmla="*/ 396799 w 5739531"/>
              <a:gd name="connsiteY1" fmla="*/ 983923 h 1070462"/>
              <a:gd name="connsiteX2" fmla="*/ 3421638 w 5739531"/>
              <a:gd name="connsiteY2" fmla="*/ 973518 h 1070462"/>
              <a:gd name="connsiteX3" fmla="*/ 4043365 w 5739531"/>
              <a:gd name="connsiteY3" fmla="*/ 0 h 1070462"/>
              <a:gd name="connsiteX4" fmla="*/ 5737908 w 5739531"/>
              <a:gd name="connsiteY4" fmla="*/ 0 h 1070462"/>
              <a:gd name="connsiteX5" fmla="*/ 5738901 w 5739531"/>
              <a:gd name="connsiteY5" fmla="*/ 1064112 h 1070462"/>
              <a:gd name="connsiteX6" fmla="*/ 395463 w 5739531"/>
              <a:gd name="connsiteY6" fmla="*/ 1070462 h 1070462"/>
              <a:gd name="connsiteX0" fmla="*/ 395463 w 5739531"/>
              <a:gd name="connsiteY0" fmla="*/ 1070462 h 1070462"/>
              <a:gd name="connsiteX1" fmla="*/ 396799 w 5739531"/>
              <a:gd name="connsiteY1" fmla="*/ 974496 h 1070462"/>
              <a:gd name="connsiteX2" fmla="*/ 3421638 w 5739531"/>
              <a:gd name="connsiteY2" fmla="*/ 973518 h 1070462"/>
              <a:gd name="connsiteX3" fmla="*/ 4043365 w 5739531"/>
              <a:gd name="connsiteY3" fmla="*/ 0 h 1070462"/>
              <a:gd name="connsiteX4" fmla="*/ 5737908 w 5739531"/>
              <a:gd name="connsiteY4" fmla="*/ 0 h 1070462"/>
              <a:gd name="connsiteX5" fmla="*/ 5738901 w 5739531"/>
              <a:gd name="connsiteY5" fmla="*/ 1064112 h 1070462"/>
              <a:gd name="connsiteX6" fmla="*/ 395463 w 5739531"/>
              <a:gd name="connsiteY6" fmla="*/ 1070462 h 1070462"/>
              <a:gd name="connsiteX0" fmla="*/ 0 w 5344068"/>
              <a:gd name="connsiteY0" fmla="*/ 1070462 h 1070462"/>
              <a:gd name="connsiteX1" fmla="*/ 1336 w 5344068"/>
              <a:gd name="connsiteY1" fmla="*/ 974496 h 1070462"/>
              <a:gd name="connsiteX2" fmla="*/ 3026175 w 5344068"/>
              <a:gd name="connsiteY2" fmla="*/ 973518 h 1070462"/>
              <a:gd name="connsiteX3" fmla="*/ 3647902 w 5344068"/>
              <a:gd name="connsiteY3" fmla="*/ 0 h 1070462"/>
              <a:gd name="connsiteX4" fmla="*/ 5342445 w 5344068"/>
              <a:gd name="connsiteY4" fmla="*/ 0 h 1070462"/>
              <a:gd name="connsiteX5" fmla="*/ 5343438 w 5344068"/>
              <a:gd name="connsiteY5" fmla="*/ 1064112 h 1070462"/>
              <a:gd name="connsiteX6" fmla="*/ 0 w 5344068"/>
              <a:gd name="connsiteY6" fmla="*/ 1070462 h 1070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44068" h="1070462">
                <a:moveTo>
                  <a:pt x="0" y="1070462"/>
                </a:moveTo>
                <a:cubicBezTo>
                  <a:pt x="445" y="1038473"/>
                  <a:pt x="891" y="1006485"/>
                  <a:pt x="1336" y="974496"/>
                </a:cubicBezTo>
                <a:lnTo>
                  <a:pt x="3026175" y="973518"/>
                </a:lnTo>
                <a:lnTo>
                  <a:pt x="3647902" y="0"/>
                </a:lnTo>
                <a:lnTo>
                  <a:pt x="5342445" y="0"/>
                </a:lnTo>
                <a:cubicBezTo>
                  <a:pt x="5339919" y="346237"/>
                  <a:pt x="5345964" y="717875"/>
                  <a:pt x="5343438" y="1064112"/>
                </a:cubicBezTo>
                <a:lnTo>
                  <a:pt x="0" y="1070462"/>
                </a:lnTo>
                <a:close/>
              </a:path>
            </a:pathLst>
          </a:custGeom>
          <a:solidFill>
            <a:schemeClr val="bg1"/>
          </a:solidFill>
          <a:ln w="19050">
            <a:noFill/>
          </a:ln>
        </p:spPr>
        <p:txBody>
          <a:bodyPr vert="horz" lIns="454941" tIns="37851" rIns="75702" bIns="72790" rtlCol="0" anchor="b">
            <a:noAutofit/>
          </a:bodyPr>
          <a:lstStyle>
            <a:lvl1pPr marL="0" indent="0">
              <a:buNone/>
              <a:defRPr lang="en-US" sz="1094" dirty="0">
                <a:solidFill>
                  <a:schemeClr val="bg1"/>
                </a:solidFill>
                <a:latin typeface="PTCRaleway" panose="020B0503030101060003" pitchFamily="34" charset="0"/>
              </a:defRPr>
            </a:lvl1pPr>
          </a:lstStyle>
          <a:p>
            <a:pPr lvl="0"/>
            <a:r>
              <a:rPr lang="en-US" dirty="0"/>
              <a:t> </a:t>
            </a:r>
          </a:p>
        </p:txBody>
      </p:sp>
      <p:sp>
        <p:nvSpPr>
          <p:cNvPr id="4" name="Title 3">
            <a:extLst>
              <a:ext uri="{FF2B5EF4-FFF2-40B4-BE49-F238E27FC236}">
                <a16:creationId xmlns:a16="http://schemas.microsoft.com/office/drawing/2014/main" id="{B7EBEE7B-E80B-4767-8B19-9478781C66BC}"/>
              </a:ext>
            </a:extLst>
          </p:cNvPr>
          <p:cNvSpPr>
            <a:spLocks noGrp="1"/>
          </p:cNvSpPr>
          <p:nvPr>
            <p:ph type="title" hasCustomPrompt="1"/>
          </p:nvPr>
        </p:nvSpPr>
        <p:spPr>
          <a:xfrm>
            <a:off x="6235700" y="690485"/>
            <a:ext cx="5486400" cy="369332"/>
          </a:xfrm>
        </p:spPr>
        <p:txBody>
          <a:bodyPr/>
          <a:lstStyle>
            <a:lvl1pPr>
              <a:defRPr sz="3000"/>
            </a:lvl1pPr>
          </a:lstStyle>
          <a:p>
            <a:r>
              <a:rPr lang="en-US" dirty="0"/>
              <a:t>add title – keep it brief</a:t>
            </a:r>
          </a:p>
        </p:txBody>
      </p:sp>
      <p:sp>
        <p:nvSpPr>
          <p:cNvPr id="19" name="Rectangle 18">
            <a:extLst>
              <a:ext uri="{FF2B5EF4-FFF2-40B4-BE49-F238E27FC236}">
                <a16:creationId xmlns:a16="http://schemas.microsoft.com/office/drawing/2014/main" id="{A65E310E-4680-4C73-838C-098522BD39DD}"/>
              </a:ext>
            </a:extLst>
          </p:cNvPr>
          <p:cNvSpPr/>
          <p:nvPr userDrawn="1"/>
        </p:nvSpPr>
        <p:spPr>
          <a:xfrm>
            <a:off x="6235700" y="389410"/>
            <a:ext cx="955563" cy="45719"/>
          </a:xfrm>
          <a:prstGeom prst="rect">
            <a:avLst/>
          </a:prstGeom>
          <a:solidFill>
            <a:srgbClr val="5AB7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grpSp>
        <p:nvGrpSpPr>
          <p:cNvPr id="102" name="Group 101">
            <a:extLst>
              <a:ext uri="{FF2B5EF4-FFF2-40B4-BE49-F238E27FC236}">
                <a16:creationId xmlns:a16="http://schemas.microsoft.com/office/drawing/2014/main" id="{96A1FBE7-9A49-4893-BE73-C040CC83491F}"/>
              </a:ext>
            </a:extLst>
          </p:cNvPr>
          <p:cNvGrpSpPr/>
          <p:nvPr userDrawn="1"/>
        </p:nvGrpSpPr>
        <p:grpSpPr>
          <a:xfrm flipH="1" flipV="1">
            <a:off x="5879755" y="2706256"/>
            <a:ext cx="152274" cy="3960685"/>
            <a:chOff x="5814441" y="100216"/>
            <a:chExt cx="152274" cy="3960685"/>
          </a:xfrm>
        </p:grpSpPr>
        <p:sp>
          <p:nvSpPr>
            <p:cNvPr id="61" name="Freeform: Shape 60">
              <a:extLst>
                <a:ext uri="{FF2B5EF4-FFF2-40B4-BE49-F238E27FC236}">
                  <a16:creationId xmlns:a16="http://schemas.microsoft.com/office/drawing/2014/main" id="{92D94A2C-76F2-4901-9BC7-CD95D5D65BCA}"/>
                </a:ext>
              </a:extLst>
            </p:cNvPr>
            <p:cNvSpPr/>
            <p:nvPr userDrawn="1"/>
          </p:nvSpPr>
          <p:spPr>
            <a:xfrm rot="5400000" flipH="1">
              <a:off x="4300442" y="1617453"/>
              <a:ext cx="3168650" cy="140652"/>
            </a:xfrm>
            <a:custGeom>
              <a:avLst/>
              <a:gdLst>
                <a:gd name="connsiteX0" fmla="*/ 0 w 3168650"/>
                <a:gd name="connsiteY0" fmla="*/ 140653 h 140652"/>
                <a:gd name="connsiteX1" fmla="*/ 143446 w 3168650"/>
                <a:gd name="connsiteY1" fmla="*/ 0 h 140652"/>
                <a:gd name="connsiteX2" fmla="*/ 3168650 w 3168650"/>
                <a:gd name="connsiteY2" fmla="*/ 0 h 140652"/>
              </a:gdLst>
              <a:ahLst/>
              <a:cxnLst>
                <a:cxn ang="0">
                  <a:pos x="connsiteX0" y="connsiteY0"/>
                </a:cxn>
                <a:cxn ang="0">
                  <a:pos x="connsiteX1" y="connsiteY1"/>
                </a:cxn>
                <a:cxn ang="0">
                  <a:pos x="connsiteX2" y="connsiteY2"/>
                </a:cxn>
              </a:cxnLst>
              <a:rect l="l" t="t" r="r" b="b"/>
              <a:pathLst>
                <a:path w="3168650" h="140652">
                  <a:moveTo>
                    <a:pt x="0" y="140653"/>
                  </a:moveTo>
                  <a:lnTo>
                    <a:pt x="143446" y="0"/>
                  </a:lnTo>
                  <a:lnTo>
                    <a:pt x="3168650" y="0"/>
                  </a:lnTo>
                </a:path>
              </a:pathLst>
            </a:custGeom>
            <a:noFill/>
            <a:ln w="3175" cap="flat">
              <a:solidFill>
                <a:schemeClr val="tx2"/>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62" name="Freeform: Shape 61">
              <a:extLst>
                <a:ext uri="{FF2B5EF4-FFF2-40B4-BE49-F238E27FC236}">
                  <a16:creationId xmlns:a16="http://schemas.microsoft.com/office/drawing/2014/main" id="{4838DB7B-C890-45AE-BA34-E7001C6689B7}"/>
                </a:ext>
              </a:extLst>
            </p:cNvPr>
            <p:cNvSpPr/>
            <p:nvPr userDrawn="1"/>
          </p:nvSpPr>
          <p:spPr>
            <a:xfrm rot="5400000" flipH="1">
              <a:off x="5894038" y="42209"/>
              <a:ext cx="6350" cy="122364"/>
            </a:xfrm>
            <a:custGeom>
              <a:avLst/>
              <a:gdLst>
                <a:gd name="connsiteX0" fmla="*/ 0 w 6350"/>
                <a:gd name="connsiteY0" fmla="*/ 122364 h 122364"/>
                <a:gd name="connsiteX1" fmla="*/ 0 w 6350"/>
                <a:gd name="connsiteY1" fmla="*/ 0 h 122364"/>
              </a:gdLst>
              <a:ahLst/>
              <a:cxnLst>
                <a:cxn ang="0">
                  <a:pos x="connsiteX0" y="connsiteY0"/>
                </a:cxn>
                <a:cxn ang="0">
                  <a:pos x="connsiteX1" y="connsiteY1"/>
                </a:cxn>
              </a:cxnLst>
              <a:rect l="l" t="t" r="r" b="b"/>
              <a:pathLst>
                <a:path w="6350" h="122364">
                  <a:moveTo>
                    <a:pt x="0" y="122364"/>
                  </a:moveTo>
                  <a:lnTo>
                    <a:pt x="0" y="0"/>
                  </a:lnTo>
                </a:path>
              </a:pathLst>
            </a:custGeom>
            <a:ln w="19050" cap="flat">
              <a:solidFill>
                <a:srgbClr val="6FBE4A"/>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63" name="Freeform: Shape 62">
              <a:extLst>
                <a:ext uri="{FF2B5EF4-FFF2-40B4-BE49-F238E27FC236}">
                  <a16:creationId xmlns:a16="http://schemas.microsoft.com/office/drawing/2014/main" id="{A1872235-911B-47B8-8050-8E592E13782F}"/>
                </a:ext>
              </a:extLst>
            </p:cNvPr>
            <p:cNvSpPr/>
            <p:nvPr userDrawn="1"/>
          </p:nvSpPr>
          <p:spPr>
            <a:xfrm rot="5400000" flipH="1">
              <a:off x="5839080" y="187847"/>
              <a:ext cx="43688" cy="43687"/>
            </a:xfrm>
            <a:custGeom>
              <a:avLst/>
              <a:gdLst>
                <a:gd name="connsiteX0" fmla="*/ 0 w 43688"/>
                <a:gd name="connsiteY0" fmla="*/ 0 h 43687"/>
                <a:gd name="connsiteX1" fmla="*/ 43688 w 43688"/>
                <a:gd name="connsiteY1" fmla="*/ 0 h 43687"/>
                <a:gd name="connsiteX2" fmla="*/ 43688 w 43688"/>
                <a:gd name="connsiteY2" fmla="*/ 43688 h 43687"/>
                <a:gd name="connsiteX3" fmla="*/ 0 w 43688"/>
                <a:gd name="connsiteY3" fmla="*/ 43688 h 43687"/>
              </a:gdLst>
              <a:ahLst/>
              <a:cxnLst>
                <a:cxn ang="0">
                  <a:pos x="connsiteX0" y="connsiteY0"/>
                </a:cxn>
                <a:cxn ang="0">
                  <a:pos x="connsiteX1" y="connsiteY1"/>
                </a:cxn>
                <a:cxn ang="0">
                  <a:pos x="connsiteX2" y="connsiteY2"/>
                </a:cxn>
                <a:cxn ang="0">
                  <a:pos x="connsiteX3" y="connsiteY3"/>
                </a:cxn>
              </a:cxnLst>
              <a:rect l="l" t="t" r="r" b="b"/>
              <a:pathLst>
                <a:path w="43688" h="43687">
                  <a:moveTo>
                    <a:pt x="0" y="0"/>
                  </a:moveTo>
                  <a:lnTo>
                    <a:pt x="43688" y="0"/>
                  </a:lnTo>
                  <a:lnTo>
                    <a:pt x="43688" y="43688"/>
                  </a:lnTo>
                  <a:lnTo>
                    <a:pt x="0" y="43688"/>
                  </a:lnTo>
                  <a:close/>
                </a:path>
              </a:pathLst>
            </a:custGeom>
            <a:noFill/>
            <a:ln w="3175" cap="flat">
              <a:solidFill>
                <a:srgbClr val="B3B3B3"/>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64" name="Freeform: Shape 63">
              <a:extLst>
                <a:ext uri="{FF2B5EF4-FFF2-40B4-BE49-F238E27FC236}">
                  <a16:creationId xmlns:a16="http://schemas.microsoft.com/office/drawing/2014/main" id="{DF132B46-A4BE-4B5A-8EC2-40AF06B0B9F1}"/>
                </a:ext>
              </a:extLst>
            </p:cNvPr>
            <p:cNvSpPr/>
            <p:nvPr userDrawn="1"/>
          </p:nvSpPr>
          <p:spPr>
            <a:xfrm rot="5400000" flipH="1">
              <a:off x="5824887" y="232582"/>
              <a:ext cx="254063" cy="6350"/>
            </a:xfrm>
            <a:custGeom>
              <a:avLst/>
              <a:gdLst>
                <a:gd name="connsiteX0" fmla="*/ 0 w 254063"/>
                <a:gd name="connsiteY0" fmla="*/ 0 h 6350"/>
                <a:gd name="connsiteX1" fmla="*/ 254064 w 254063"/>
                <a:gd name="connsiteY1" fmla="*/ 0 h 6350"/>
              </a:gdLst>
              <a:ahLst/>
              <a:cxnLst>
                <a:cxn ang="0">
                  <a:pos x="connsiteX0" y="connsiteY0"/>
                </a:cxn>
                <a:cxn ang="0">
                  <a:pos x="connsiteX1" y="connsiteY1"/>
                </a:cxn>
              </a:cxnLst>
              <a:rect l="l" t="t" r="r" b="b"/>
              <a:pathLst>
                <a:path w="254063" h="6350">
                  <a:moveTo>
                    <a:pt x="0" y="0"/>
                  </a:moveTo>
                  <a:lnTo>
                    <a:pt x="254064" y="0"/>
                  </a:lnTo>
                </a:path>
              </a:pathLst>
            </a:custGeom>
            <a:ln w="19050" cap="flat">
              <a:solidFill>
                <a:srgbClr val="6FBE4A"/>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nvGrpSpPr>
            <p:cNvPr id="65" name="Graphic 42">
              <a:extLst>
                <a:ext uri="{FF2B5EF4-FFF2-40B4-BE49-F238E27FC236}">
                  <a16:creationId xmlns:a16="http://schemas.microsoft.com/office/drawing/2014/main" id="{46262E16-46F5-4AA1-B76D-0A7704A23781}"/>
                </a:ext>
              </a:extLst>
            </p:cNvPr>
            <p:cNvGrpSpPr/>
            <p:nvPr userDrawn="1"/>
          </p:nvGrpSpPr>
          <p:grpSpPr>
            <a:xfrm rot="5400000" flipH="1">
              <a:off x="5485925" y="3580111"/>
              <a:ext cx="895032" cy="66548"/>
              <a:chOff x="7926578" y="441451"/>
              <a:chExt cx="895032" cy="66548"/>
            </a:xfrm>
            <a:solidFill>
              <a:srgbClr val="75BF43">
                <a:alpha val="57000"/>
              </a:srgbClr>
            </a:solidFill>
          </p:grpSpPr>
          <p:sp>
            <p:nvSpPr>
              <p:cNvPr id="82" name="Freeform: Shape 81">
                <a:extLst>
                  <a:ext uri="{FF2B5EF4-FFF2-40B4-BE49-F238E27FC236}">
                    <a16:creationId xmlns:a16="http://schemas.microsoft.com/office/drawing/2014/main" id="{8D267C4D-17F7-4C39-BBD4-3D66066F6FE0}"/>
                  </a:ext>
                </a:extLst>
              </p:cNvPr>
              <p:cNvSpPr/>
              <p:nvPr/>
            </p:nvSpPr>
            <p:spPr>
              <a:xfrm>
                <a:off x="8479726"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3" name="Freeform: Shape 82">
                <a:extLst>
                  <a:ext uri="{FF2B5EF4-FFF2-40B4-BE49-F238E27FC236}">
                    <a16:creationId xmlns:a16="http://schemas.microsoft.com/office/drawing/2014/main" id="{761D1A02-D2E1-4370-AF43-F76B14915843}"/>
                  </a:ext>
                </a:extLst>
              </p:cNvPr>
              <p:cNvSpPr/>
              <p:nvPr/>
            </p:nvSpPr>
            <p:spPr>
              <a:xfrm>
                <a:off x="8437181"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4" name="Freeform: Shape 83">
                <a:extLst>
                  <a:ext uri="{FF2B5EF4-FFF2-40B4-BE49-F238E27FC236}">
                    <a16:creationId xmlns:a16="http://schemas.microsoft.com/office/drawing/2014/main" id="{B7FB1973-B26D-49BE-807B-94562EF98491}"/>
                  </a:ext>
                </a:extLst>
              </p:cNvPr>
              <p:cNvSpPr/>
              <p:nvPr/>
            </p:nvSpPr>
            <p:spPr>
              <a:xfrm>
                <a:off x="8394636" y="441451"/>
                <a:ext cx="89281" cy="66548"/>
              </a:xfrm>
              <a:custGeom>
                <a:avLst/>
                <a:gdLst>
                  <a:gd name="connsiteX0" fmla="*/ 68707 w 89281"/>
                  <a:gd name="connsiteY0" fmla="*/ 0 h 66548"/>
                  <a:gd name="connsiteX1" fmla="*/ 0 w 89281"/>
                  <a:gd name="connsiteY1" fmla="*/ 66548 h 66548"/>
                  <a:gd name="connsiteX2" fmla="*/ 20574 w 89281"/>
                  <a:gd name="connsiteY2" fmla="*/ 66548 h 66548"/>
                  <a:gd name="connsiteX3" fmla="*/ 89281 w 89281"/>
                  <a:gd name="connsiteY3" fmla="*/ 0 h 66548"/>
                </a:gdLst>
                <a:ahLst/>
                <a:cxnLst>
                  <a:cxn ang="0">
                    <a:pos x="connsiteX0" y="connsiteY0"/>
                  </a:cxn>
                  <a:cxn ang="0">
                    <a:pos x="connsiteX1" y="connsiteY1"/>
                  </a:cxn>
                  <a:cxn ang="0">
                    <a:pos x="connsiteX2" y="connsiteY2"/>
                  </a:cxn>
                  <a:cxn ang="0">
                    <a:pos x="connsiteX3" y="connsiteY3"/>
                  </a:cxn>
                </a:cxnLst>
                <a:rect l="l" t="t" r="r" b="b"/>
                <a:pathLst>
                  <a:path w="89281" h="66548">
                    <a:moveTo>
                      <a:pt x="68707"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5" name="Freeform: Shape 84">
                <a:extLst>
                  <a:ext uri="{FF2B5EF4-FFF2-40B4-BE49-F238E27FC236}">
                    <a16:creationId xmlns:a16="http://schemas.microsoft.com/office/drawing/2014/main" id="{28790BCE-1A2F-4455-9398-979CFA962EEB}"/>
                  </a:ext>
                </a:extLst>
              </p:cNvPr>
              <p:cNvSpPr/>
              <p:nvPr/>
            </p:nvSpPr>
            <p:spPr>
              <a:xfrm>
                <a:off x="8352091" y="441451"/>
                <a:ext cx="89280" cy="66548"/>
              </a:xfrm>
              <a:custGeom>
                <a:avLst/>
                <a:gdLst>
                  <a:gd name="connsiteX0" fmla="*/ 68707 w 89280"/>
                  <a:gd name="connsiteY0" fmla="*/ 0 h 66548"/>
                  <a:gd name="connsiteX1" fmla="*/ 0 w 89280"/>
                  <a:gd name="connsiteY1" fmla="*/ 66548 h 66548"/>
                  <a:gd name="connsiteX2" fmla="*/ 20574 w 89280"/>
                  <a:gd name="connsiteY2" fmla="*/ 66548 h 66548"/>
                  <a:gd name="connsiteX3" fmla="*/ 89281 w 89280"/>
                  <a:gd name="connsiteY3" fmla="*/ 0 h 66548"/>
                </a:gdLst>
                <a:ahLst/>
                <a:cxnLst>
                  <a:cxn ang="0">
                    <a:pos x="connsiteX0" y="connsiteY0"/>
                  </a:cxn>
                  <a:cxn ang="0">
                    <a:pos x="connsiteX1" y="connsiteY1"/>
                  </a:cxn>
                  <a:cxn ang="0">
                    <a:pos x="connsiteX2" y="connsiteY2"/>
                  </a:cxn>
                  <a:cxn ang="0">
                    <a:pos x="connsiteX3" y="connsiteY3"/>
                  </a:cxn>
                </a:cxnLst>
                <a:rect l="l" t="t" r="r" b="b"/>
                <a:pathLst>
                  <a:path w="89280" h="66548">
                    <a:moveTo>
                      <a:pt x="68707"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6" name="Freeform: Shape 85">
                <a:extLst>
                  <a:ext uri="{FF2B5EF4-FFF2-40B4-BE49-F238E27FC236}">
                    <a16:creationId xmlns:a16="http://schemas.microsoft.com/office/drawing/2014/main" id="{07CF01A5-76D0-443F-B853-B3E6ABD28894}"/>
                  </a:ext>
                </a:extLst>
              </p:cNvPr>
              <p:cNvSpPr/>
              <p:nvPr/>
            </p:nvSpPr>
            <p:spPr>
              <a:xfrm>
                <a:off x="813930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7" name="Freeform: Shape 86">
                <a:extLst>
                  <a:ext uri="{FF2B5EF4-FFF2-40B4-BE49-F238E27FC236}">
                    <a16:creationId xmlns:a16="http://schemas.microsoft.com/office/drawing/2014/main" id="{E2B9AF3D-585E-4458-82FF-6D6F42A2D8D3}"/>
                  </a:ext>
                </a:extLst>
              </p:cNvPr>
              <p:cNvSpPr/>
              <p:nvPr/>
            </p:nvSpPr>
            <p:spPr>
              <a:xfrm>
                <a:off x="8181847"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8" name="Freeform: Shape 87">
                <a:extLst>
                  <a:ext uri="{FF2B5EF4-FFF2-40B4-BE49-F238E27FC236}">
                    <a16:creationId xmlns:a16="http://schemas.microsoft.com/office/drawing/2014/main" id="{F135D2F3-9B53-4DF3-84DD-20FEDAC316C4}"/>
                  </a:ext>
                </a:extLst>
              </p:cNvPr>
              <p:cNvSpPr/>
              <p:nvPr/>
            </p:nvSpPr>
            <p:spPr>
              <a:xfrm>
                <a:off x="8267001" y="441451"/>
                <a:ext cx="89280" cy="66548"/>
              </a:xfrm>
              <a:custGeom>
                <a:avLst/>
                <a:gdLst>
                  <a:gd name="connsiteX0" fmla="*/ 68643 w 89280"/>
                  <a:gd name="connsiteY0" fmla="*/ 0 h 66548"/>
                  <a:gd name="connsiteX1" fmla="*/ 0 w 89280"/>
                  <a:gd name="connsiteY1" fmla="*/ 66548 h 66548"/>
                  <a:gd name="connsiteX2" fmla="*/ 20574 w 89280"/>
                  <a:gd name="connsiteY2" fmla="*/ 66548 h 66548"/>
                  <a:gd name="connsiteX3" fmla="*/ 89281 w 89280"/>
                  <a:gd name="connsiteY3" fmla="*/ 0 h 66548"/>
                </a:gdLst>
                <a:ahLst/>
                <a:cxnLst>
                  <a:cxn ang="0">
                    <a:pos x="connsiteX0" y="connsiteY0"/>
                  </a:cxn>
                  <a:cxn ang="0">
                    <a:pos x="connsiteX1" y="connsiteY1"/>
                  </a:cxn>
                  <a:cxn ang="0">
                    <a:pos x="connsiteX2" y="connsiteY2"/>
                  </a:cxn>
                  <a:cxn ang="0">
                    <a:pos x="connsiteX3" y="connsiteY3"/>
                  </a:cxn>
                </a:cxnLst>
                <a:rect l="l" t="t" r="r" b="b"/>
                <a:pathLst>
                  <a:path w="89280" h="66548">
                    <a:moveTo>
                      <a:pt x="68643"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9" name="Freeform: Shape 88">
                <a:extLst>
                  <a:ext uri="{FF2B5EF4-FFF2-40B4-BE49-F238E27FC236}">
                    <a16:creationId xmlns:a16="http://schemas.microsoft.com/office/drawing/2014/main" id="{CC275E23-A864-4ADA-93D6-5EDEF8DE705D}"/>
                  </a:ext>
                </a:extLst>
              </p:cNvPr>
              <p:cNvSpPr/>
              <p:nvPr/>
            </p:nvSpPr>
            <p:spPr>
              <a:xfrm>
                <a:off x="822439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0" name="Freeform: Shape 89">
                <a:extLst>
                  <a:ext uri="{FF2B5EF4-FFF2-40B4-BE49-F238E27FC236}">
                    <a16:creationId xmlns:a16="http://schemas.microsoft.com/office/drawing/2014/main" id="{E6375D51-FE4B-4033-BD62-0DD5064071C1}"/>
                  </a:ext>
                </a:extLst>
              </p:cNvPr>
              <p:cNvSpPr/>
              <p:nvPr/>
            </p:nvSpPr>
            <p:spPr>
              <a:xfrm>
                <a:off x="8309546" y="441451"/>
                <a:ext cx="89281" cy="66548"/>
              </a:xfrm>
              <a:custGeom>
                <a:avLst/>
                <a:gdLst>
                  <a:gd name="connsiteX0" fmla="*/ 68644 w 89281"/>
                  <a:gd name="connsiteY0" fmla="*/ 0 h 66548"/>
                  <a:gd name="connsiteX1" fmla="*/ 0 w 89281"/>
                  <a:gd name="connsiteY1" fmla="*/ 66548 h 66548"/>
                  <a:gd name="connsiteX2" fmla="*/ 20574 w 89281"/>
                  <a:gd name="connsiteY2" fmla="*/ 66548 h 66548"/>
                  <a:gd name="connsiteX3" fmla="*/ 89281 w 89281"/>
                  <a:gd name="connsiteY3" fmla="*/ 0 h 66548"/>
                </a:gdLst>
                <a:ahLst/>
                <a:cxnLst>
                  <a:cxn ang="0">
                    <a:pos x="connsiteX0" y="connsiteY0"/>
                  </a:cxn>
                  <a:cxn ang="0">
                    <a:pos x="connsiteX1" y="connsiteY1"/>
                  </a:cxn>
                  <a:cxn ang="0">
                    <a:pos x="connsiteX2" y="connsiteY2"/>
                  </a:cxn>
                  <a:cxn ang="0">
                    <a:pos x="connsiteX3" y="connsiteY3"/>
                  </a:cxn>
                </a:cxnLst>
                <a:rect l="l" t="t" r="r" b="b"/>
                <a:pathLst>
                  <a:path w="89281" h="66548">
                    <a:moveTo>
                      <a:pt x="68644"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1" name="Freeform: Shape 90">
                <a:extLst>
                  <a:ext uri="{FF2B5EF4-FFF2-40B4-BE49-F238E27FC236}">
                    <a16:creationId xmlns:a16="http://schemas.microsoft.com/office/drawing/2014/main" id="{B6C6C0CD-A604-438E-8D88-066E333C2977}"/>
                  </a:ext>
                </a:extLst>
              </p:cNvPr>
              <p:cNvSpPr/>
              <p:nvPr/>
            </p:nvSpPr>
            <p:spPr>
              <a:xfrm>
                <a:off x="8522271"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2" name="Freeform: Shape 91">
                <a:extLst>
                  <a:ext uri="{FF2B5EF4-FFF2-40B4-BE49-F238E27FC236}">
                    <a16:creationId xmlns:a16="http://schemas.microsoft.com/office/drawing/2014/main" id="{8D479109-6DB0-49C3-AB38-D55B446F8F86}"/>
                  </a:ext>
                </a:extLst>
              </p:cNvPr>
              <p:cNvSpPr/>
              <p:nvPr/>
            </p:nvSpPr>
            <p:spPr>
              <a:xfrm>
                <a:off x="8693975"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3" name="Freeform: Shape 92">
                <a:extLst>
                  <a:ext uri="{FF2B5EF4-FFF2-40B4-BE49-F238E27FC236}">
                    <a16:creationId xmlns:a16="http://schemas.microsoft.com/office/drawing/2014/main" id="{6E62C9AB-022D-489B-A496-77D465DD7ED0}"/>
                  </a:ext>
                </a:extLst>
              </p:cNvPr>
              <p:cNvSpPr/>
              <p:nvPr/>
            </p:nvSpPr>
            <p:spPr>
              <a:xfrm>
                <a:off x="8821610" y="508000"/>
                <a:ext cx="6350" cy="6350"/>
              </a:xfrm>
              <a:custGeom>
                <a:avLst/>
                <a:gdLst>
                  <a:gd name="connsiteX0" fmla="*/ 0 w 6350"/>
                  <a:gd name="connsiteY0" fmla="*/ 0 h 6350"/>
                  <a:gd name="connsiteX1" fmla="*/ 0 w 6350"/>
                  <a:gd name="connsiteY1" fmla="*/ 0 h 6350"/>
                  <a:gd name="connsiteX2" fmla="*/ 0 w 6350"/>
                  <a:gd name="connsiteY2" fmla="*/ 0 h 6350"/>
                </a:gdLst>
                <a:ahLst/>
                <a:cxnLst>
                  <a:cxn ang="0">
                    <a:pos x="connsiteX0" y="connsiteY0"/>
                  </a:cxn>
                  <a:cxn ang="0">
                    <a:pos x="connsiteX1" y="connsiteY1"/>
                  </a:cxn>
                  <a:cxn ang="0">
                    <a:pos x="connsiteX2" y="connsiteY2"/>
                  </a:cxn>
                </a:cxnLst>
                <a:rect l="l" t="t" r="r" b="b"/>
                <a:pathLst>
                  <a:path w="6350" h="6350">
                    <a:moveTo>
                      <a:pt x="0" y="0"/>
                    </a:moveTo>
                    <a:lnTo>
                      <a:pt x="0" y="0"/>
                    </a:lnTo>
                    <a:lnTo>
                      <a:pt x="0"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4" name="Freeform: Shape 93">
                <a:extLst>
                  <a:ext uri="{FF2B5EF4-FFF2-40B4-BE49-F238E27FC236}">
                    <a16:creationId xmlns:a16="http://schemas.microsoft.com/office/drawing/2014/main" id="{51DEDD2C-6313-4BBA-BF2C-B48404513035}"/>
                  </a:ext>
                </a:extLst>
              </p:cNvPr>
              <p:cNvSpPr/>
              <p:nvPr/>
            </p:nvSpPr>
            <p:spPr>
              <a:xfrm>
                <a:off x="8564816" y="441451"/>
                <a:ext cx="90868" cy="66548"/>
              </a:xfrm>
              <a:custGeom>
                <a:avLst/>
                <a:gdLst>
                  <a:gd name="connsiteX0" fmla="*/ 68707 w 90868"/>
                  <a:gd name="connsiteY0" fmla="*/ 0 h 66548"/>
                  <a:gd name="connsiteX1" fmla="*/ 0 w 90868"/>
                  <a:gd name="connsiteY1" fmla="*/ 66548 h 66548"/>
                  <a:gd name="connsiteX2" fmla="*/ 22161 w 90868"/>
                  <a:gd name="connsiteY2" fmla="*/ 66548 h 66548"/>
                  <a:gd name="connsiteX3" fmla="*/ 90868 w 90868"/>
                  <a:gd name="connsiteY3" fmla="*/ 0 h 66548"/>
                </a:gdLst>
                <a:ahLst/>
                <a:cxnLst>
                  <a:cxn ang="0">
                    <a:pos x="connsiteX0" y="connsiteY0"/>
                  </a:cxn>
                  <a:cxn ang="0">
                    <a:pos x="connsiteX1" y="connsiteY1"/>
                  </a:cxn>
                  <a:cxn ang="0">
                    <a:pos x="connsiteX2" y="connsiteY2"/>
                  </a:cxn>
                  <a:cxn ang="0">
                    <a:pos x="connsiteX3" y="connsiteY3"/>
                  </a:cxn>
                </a:cxnLst>
                <a:rect l="l" t="t" r="r" b="b"/>
                <a:pathLst>
                  <a:path w="90868" h="66548">
                    <a:moveTo>
                      <a:pt x="68707" y="0"/>
                    </a:moveTo>
                    <a:lnTo>
                      <a:pt x="0" y="66548"/>
                    </a:lnTo>
                    <a:lnTo>
                      <a:pt x="22161" y="66548"/>
                    </a:lnTo>
                    <a:lnTo>
                      <a:pt x="90868"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5" name="Freeform: Shape 94">
                <a:extLst>
                  <a:ext uri="{FF2B5EF4-FFF2-40B4-BE49-F238E27FC236}">
                    <a16:creationId xmlns:a16="http://schemas.microsoft.com/office/drawing/2014/main" id="{63547A99-99CF-40B0-AC54-A09C351E7EBD}"/>
                  </a:ext>
                </a:extLst>
              </p:cNvPr>
              <p:cNvSpPr/>
              <p:nvPr/>
            </p:nvSpPr>
            <p:spPr>
              <a:xfrm>
                <a:off x="8651430"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6" name="Freeform: Shape 95">
                <a:extLst>
                  <a:ext uri="{FF2B5EF4-FFF2-40B4-BE49-F238E27FC236}">
                    <a16:creationId xmlns:a16="http://schemas.microsoft.com/office/drawing/2014/main" id="{62E9619F-2DC2-45F2-9CE3-8D7A1DB7F9D6}"/>
                  </a:ext>
                </a:extLst>
              </p:cNvPr>
              <p:cNvSpPr/>
              <p:nvPr/>
            </p:nvSpPr>
            <p:spPr>
              <a:xfrm>
                <a:off x="8608885"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7" name="Freeform: Shape 96">
                <a:extLst>
                  <a:ext uri="{FF2B5EF4-FFF2-40B4-BE49-F238E27FC236}">
                    <a16:creationId xmlns:a16="http://schemas.microsoft.com/office/drawing/2014/main" id="{445EA573-CE75-4E5A-BEDB-226A1D190A61}"/>
                  </a:ext>
                </a:extLst>
              </p:cNvPr>
              <p:cNvSpPr/>
              <p:nvPr/>
            </p:nvSpPr>
            <p:spPr>
              <a:xfrm>
                <a:off x="8096757"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8" name="Freeform: Shape 97">
                <a:extLst>
                  <a:ext uri="{FF2B5EF4-FFF2-40B4-BE49-F238E27FC236}">
                    <a16:creationId xmlns:a16="http://schemas.microsoft.com/office/drawing/2014/main" id="{F8B37F39-FCE2-44C2-8BB7-DD3FF3CE5B27}"/>
                  </a:ext>
                </a:extLst>
              </p:cNvPr>
              <p:cNvSpPr/>
              <p:nvPr/>
            </p:nvSpPr>
            <p:spPr>
              <a:xfrm>
                <a:off x="8011668"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9" name="Freeform: Shape 98">
                <a:extLst>
                  <a:ext uri="{FF2B5EF4-FFF2-40B4-BE49-F238E27FC236}">
                    <a16:creationId xmlns:a16="http://schemas.microsoft.com/office/drawing/2014/main" id="{6BC8E02B-2403-4B3B-A133-633F63B8440D}"/>
                  </a:ext>
                </a:extLst>
              </p:cNvPr>
              <p:cNvSpPr/>
              <p:nvPr/>
            </p:nvSpPr>
            <p:spPr>
              <a:xfrm>
                <a:off x="805421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00" name="Freeform: Shape 99">
                <a:extLst>
                  <a:ext uri="{FF2B5EF4-FFF2-40B4-BE49-F238E27FC236}">
                    <a16:creationId xmlns:a16="http://schemas.microsoft.com/office/drawing/2014/main" id="{5E94E02B-5111-4986-B1CF-C6ECAD973AEC}"/>
                  </a:ext>
                </a:extLst>
              </p:cNvPr>
              <p:cNvSpPr/>
              <p:nvPr/>
            </p:nvSpPr>
            <p:spPr>
              <a:xfrm>
                <a:off x="7969122"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01" name="Freeform: Shape 100">
                <a:extLst>
                  <a:ext uri="{FF2B5EF4-FFF2-40B4-BE49-F238E27FC236}">
                    <a16:creationId xmlns:a16="http://schemas.microsoft.com/office/drawing/2014/main" id="{85358E97-752A-4307-AD31-797C559E7A78}"/>
                  </a:ext>
                </a:extLst>
              </p:cNvPr>
              <p:cNvSpPr/>
              <p:nvPr/>
            </p:nvSpPr>
            <p:spPr>
              <a:xfrm>
                <a:off x="7926578"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nvGrpSpPr>
            <p:cNvPr id="66" name="Group 65">
              <a:extLst>
                <a:ext uri="{FF2B5EF4-FFF2-40B4-BE49-F238E27FC236}">
                  <a16:creationId xmlns:a16="http://schemas.microsoft.com/office/drawing/2014/main" id="{A548A88A-6E68-4D76-9B4D-430B1580BD5C}"/>
                </a:ext>
              </a:extLst>
            </p:cNvPr>
            <p:cNvGrpSpPr/>
            <p:nvPr userDrawn="1"/>
          </p:nvGrpSpPr>
          <p:grpSpPr>
            <a:xfrm rot="10800000">
              <a:off x="5862067" y="2566874"/>
              <a:ext cx="73151" cy="522033"/>
              <a:chOff x="5390750" y="3681616"/>
              <a:chExt cx="73151" cy="522033"/>
            </a:xfrm>
          </p:grpSpPr>
          <p:sp>
            <p:nvSpPr>
              <p:cNvPr id="75" name="Freeform: Shape 74">
                <a:extLst>
                  <a:ext uri="{FF2B5EF4-FFF2-40B4-BE49-F238E27FC236}">
                    <a16:creationId xmlns:a16="http://schemas.microsoft.com/office/drawing/2014/main" id="{47C3934B-FC7E-4798-9FC8-5815079C7AFD}"/>
                  </a:ext>
                </a:extLst>
              </p:cNvPr>
              <p:cNvSpPr/>
              <p:nvPr/>
            </p:nvSpPr>
            <p:spPr>
              <a:xfrm rot="16200000" flipH="1">
                <a:off x="5405100" y="3681616"/>
                <a:ext cx="43688" cy="43687"/>
              </a:xfrm>
              <a:custGeom>
                <a:avLst/>
                <a:gdLst>
                  <a:gd name="connsiteX0" fmla="*/ 0 w 43688"/>
                  <a:gd name="connsiteY0" fmla="*/ 0 h 43687"/>
                  <a:gd name="connsiteX1" fmla="*/ 43688 w 43688"/>
                  <a:gd name="connsiteY1" fmla="*/ 0 h 43687"/>
                  <a:gd name="connsiteX2" fmla="*/ 43688 w 43688"/>
                  <a:gd name="connsiteY2" fmla="*/ 43688 h 43687"/>
                  <a:gd name="connsiteX3" fmla="*/ 0 w 43688"/>
                  <a:gd name="connsiteY3" fmla="*/ 43688 h 43687"/>
                </a:gdLst>
                <a:ahLst/>
                <a:cxnLst>
                  <a:cxn ang="0">
                    <a:pos x="connsiteX0" y="connsiteY0"/>
                  </a:cxn>
                  <a:cxn ang="0">
                    <a:pos x="connsiteX1" y="connsiteY1"/>
                  </a:cxn>
                  <a:cxn ang="0">
                    <a:pos x="connsiteX2" y="connsiteY2"/>
                  </a:cxn>
                  <a:cxn ang="0">
                    <a:pos x="connsiteX3" y="connsiteY3"/>
                  </a:cxn>
                </a:cxnLst>
                <a:rect l="l" t="t" r="r" b="b"/>
                <a:pathLst>
                  <a:path w="43688" h="43687">
                    <a:moveTo>
                      <a:pt x="0" y="0"/>
                    </a:moveTo>
                    <a:lnTo>
                      <a:pt x="43688" y="0"/>
                    </a:lnTo>
                    <a:lnTo>
                      <a:pt x="43688" y="43688"/>
                    </a:lnTo>
                    <a:lnTo>
                      <a:pt x="0" y="43688"/>
                    </a:lnTo>
                    <a:close/>
                  </a:path>
                </a:pathLst>
              </a:custGeom>
              <a:noFill/>
              <a:ln w="3175" cap="flat">
                <a:solidFill>
                  <a:schemeClr val="bg1">
                    <a:lumMod val="50000"/>
                  </a:schemeClr>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76" name="Freeform: Shape 75">
                <a:extLst>
                  <a:ext uri="{FF2B5EF4-FFF2-40B4-BE49-F238E27FC236}">
                    <a16:creationId xmlns:a16="http://schemas.microsoft.com/office/drawing/2014/main" id="{3EEEEC10-DB2A-437F-9301-EE9524E1169A}"/>
                  </a:ext>
                </a:extLst>
              </p:cNvPr>
              <p:cNvSpPr/>
              <p:nvPr/>
            </p:nvSpPr>
            <p:spPr>
              <a:xfrm rot="16200000" flipH="1">
                <a:off x="5426469" y="4081062"/>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77" name="Freeform: Shape 76">
                <a:extLst>
                  <a:ext uri="{FF2B5EF4-FFF2-40B4-BE49-F238E27FC236}">
                    <a16:creationId xmlns:a16="http://schemas.microsoft.com/office/drawing/2014/main" id="{BD273B99-3244-412A-A286-CD68527AF4BF}"/>
                  </a:ext>
                </a:extLst>
              </p:cNvPr>
              <p:cNvSpPr/>
              <p:nvPr/>
            </p:nvSpPr>
            <p:spPr>
              <a:xfrm rot="16200000" flipH="1">
                <a:off x="5426469" y="4021394"/>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78" name="Freeform: Shape 77">
                <a:extLst>
                  <a:ext uri="{FF2B5EF4-FFF2-40B4-BE49-F238E27FC236}">
                    <a16:creationId xmlns:a16="http://schemas.microsoft.com/office/drawing/2014/main" id="{962260D8-582A-41BA-B192-0F95A122BE14}"/>
                  </a:ext>
                </a:extLst>
              </p:cNvPr>
              <p:cNvSpPr/>
              <p:nvPr/>
            </p:nvSpPr>
            <p:spPr>
              <a:xfrm rot="16200000" flipH="1">
                <a:off x="5426469" y="3902056"/>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79" name="Freeform: Shape 78">
                <a:extLst>
                  <a:ext uri="{FF2B5EF4-FFF2-40B4-BE49-F238E27FC236}">
                    <a16:creationId xmlns:a16="http://schemas.microsoft.com/office/drawing/2014/main" id="{51548AC6-032C-491B-AE9E-EC2BFBF35AF7}"/>
                  </a:ext>
                </a:extLst>
              </p:cNvPr>
              <p:cNvSpPr/>
              <p:nvPr/>
            </p:nvSpPr>
            <p:spPr>
              <a:xfrm rot="10800000" flipH="1">
                <a:off x="5407069" y="4165549"/>
                <a:ext cx="42418" cy="38100"/>
              </a:xfrm>
              <a:custGeom>
                <a:avLst/>
                <a:gdLst>
                  <a:gd name="connsiteX0" fmla="*/ 0 w 42418"/>
                  <a:gd name="connsiteY0" fmla="*/ 0 h 38100"/>
                  <a:gd name="connsiteX1" fmla="*/ 42418 w 42418"/>
                  <a:gd name="connsiteY1" fmla="*/ 0 h 38100"/>
                  <a:gd name="connsiteX2" fmla="*/ 42418 w 42418"/>
                  <a:gd name="connsiteY2" fmla="*/ 38100 h 38100"/>
                  <a:gd name="connsiteX3" fmla="*/ 0 w 42418"/>
                  <a:gd name="connsiteY3" fmla="*/ 38100 h 38100"/>
                </a:gdLst>
                <a:ahLst/>
                <a:cxnLst>
                  <a:cxn ang="0">
                    <a:pos x="connsiteX0" y="connsiteY0"/>
                  </a:cxn>
                  <a:cxn ang="0">
                    <a:pos x="connsiteX1" y="connsiteY1"/>
                  </a:cxn>
                  <a:cxn ang="0">
                    <a:pos x="connsiteX2" y="connsiteY2"/>
                  </a:cxn>
                  <a:cxn ang="0">
                    <a:pos x="connsiteX3" y="connsiteY3"/>
                  </a:cxn>
                </a:cxnLst>
                <a:rect l="l" t="t" r="r" b="b"/>
                <a:pathLst>
                  <a:path w="42418" h="38100">
                    <a:moveTo>
                      <a:pt x="0" y="0"/>
                    </a:moveTo>
                    <a:lnTo>
                      <a:pt x="42418" y="0"/>
                    </a:lnTo>
                    <a:lnTo>
                      <a:pt x="42418" y="38100"/>
                    </a:lnTo>
                    <a:lnTo>
                      <a:pt x="0" y="38100"/>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0" name="Freeform: Shape 79">
                <a:extLst>
                  <a:ext uri="{FF2B5EF4-FFF2-40B4-BE49-F238E27FC236}">
                    <a16:creationId xmlns:a16="http://schemas.microsoft.com/office/drawing/2014/main" id="{CD562180-9EE5-4589-897E-1D6821097E15}"/>
                  </a:ext>
                </a:extLst>
              </p:cNvPr>
              <p:cNvSpPr/>
              <p:nvPr/>
            </p:nvSpPr>
            <p:spPr>
              <a:xfrm rot="16200000" flipH="1">
                <a:off x="5407387" y="3776295"/>
                <a:ext cx="39878" cy="73151"/>
              </a:xfrm>
              <a:custGeom>
                <a:avLst/>
                <a:gdLst>
                  <a:gd name="connsiteX0" fmla="*/ 39878 w 39878"/>
                  <a:gd name="connsiteY0" fmla="*/ 38671 h 73151"/>
                  <a:gd name="connsiteX1" fmla="*/ 2413 w 39878"/>
                  <a:gd name="connsiteY1" fmla="*/ 73152 h 73151"/>
                  <a:gd name="connsiteX2" fmla="*/ 0 w 39878"/>
                  <a:gd name="connsiteY2" fmla="*/ 69913 h 73151"/>
                  <a:gd name="connsiteX3" fmla="*/ 36131 w 39878"/>
                  <a:gd name="connsiteY3" fmla="*/ 36576 h 73151"/>
                  <a:gd name="connsiteX4" fmla="*/ 0 w 39878"/>
                  <a:gd name="connsiteY4" fmla="*/ 3238 h 73151"/>
                  <a:gd name="connsiteX5" fmla="*/ 2413 w 39878"/>
                  <a:gd name="connsiteY5" fmla="*/ 0 h 73151"/>
                  <a:gd name="connsiteX6" fmla="*/ 39878 w 39878"/>
                  <a:gd name="connsiteY6" fmla="*/ 34481 h 73151"/>
                  <a:gd name="connsiteX7" fmla="*/ 39878 w 39878"/>
                  <a:gd name="connsiteY7" fmla="*/ 38671 h 73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878" h="73151">
                    <a:moveTo>
                      <a:pt x="39878" y="38671"/>
                    </a:moveTo>
                    <a:lnTo>
                      <a:pt x="2413" y="73152"/>
                    </a:lnTo>
                    <a:lnTo>
                      <a:pt x="0" y="69913"/>
                    </a:lnTo>
                    <a:lnTo>
                      <a:pt x="36131" y="36576"/>
                    </a:lnTo>
                    <a:lnTo>
                      <a:pt x="0" y="3238"/>
                    </a:lnTo>
                    <a:lnTo>
                      <a:pt x="2413" y="0"/>
                    </a:lnTo>
                    <a:lnTo>
                      <a:pt x="39878" y="34481"/>
                    </a:lnTo>
                    <a:lnTo>
                      <a:pt x="39878" y="38671"/>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1" name="Freeform: Shape 80">
                <a:extLst>
                  <a:ext uri="{FF2B5EF4-FFF2-40B4-BE49-F238E27FC236}">
                    <a16:creationId xmlns:a16="http://schemas.microsoft.com/office/drawing/2014/main" id="{E1BCD94F-7B45-4C14-A6E5-ED070F82587D}"/>
                  </a:ext>
                </a:extLst>
              </p:cNvPr>
              <p:cNvSpPr/>
              <p:nvPr/>
            </p:nvSpPr>
            <p:spPr>
              <a:xfrm rot="16200000" flipH="1">
                <a:off x="5426469" y="3961725"/>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sp>
        <p:nvSpPr>
          <p:cNvPr id="104" name="Text Placeholder 103">
            <a:extLst>
              <a:ext uri="{FF2B5EF4-FFF2-40B4-BE49-F238E27FC236}">
                <a16:creationId xmlns:a16="http://schemas.microsoft.com/office/drawing/2014/main" id="{3F92D13C-3F81-42E4-AB3C-F61BBBD79BBD}"/>
              </a:ext>
            </a:extLst>
          </p:cNvPr>
          <p:cNvSpPr>
            <a:spLocks noGrp="1"/>
          </p:cNvSpPr>
          <p:nvPr userDrawn="1">
            <p:ph type="body" sz="quarter" idx="26" hasCustomPrompt="1"/>
          </p:nvPr>
        </p:nvSpPr>
        <p:spPr>
          <a:xfrm>
            <a:off x="306495" y="4725035"/>
            <a:ext cx="2967229" cy="1035050"/>
          </a:xfrm>
        </p:spPr>
        <p:txBody>
          <a:bodyPr anchor="ctr" anchorCtr="0"/>
          <a:lstStyle>
            <a:lvl1pPr marL="0" indent="0" algn="l">
              <a:spcBef>
                <a:spcPts val="0"/>
              </a:spcBef>
              <a:buFontTx/>
              <a:buNone/>
              <a:defRPr>
                <a:solidFill>
                  <a:schemeClr val="bg1"/>
                </a:solidFill>
              </a:defRPr>
            </a:lvl1pPr>
            <a:lvl2pPr marL="414337" indent="0">
              <a:buFontTx/>
              <a:buNone/>
              <a:defRPr>
                <a:solidFill>
                  <a:schemeClr val="bg1"/>
                </a:solidFill>
              </a:defRPr>
            </a:lvl2pPr>
            <a:lvl3pPr marL="762000" indent="0">
              <a:buFontTx/>
              <a:buNone/>
              <a:defRPr>
                <a:solidFill>
                  <a:schemeClr val="bg1"/>
                </a:solidFill>
              </a:defRPr>
            </a:lvl3pPr>
            <a:lvl4pPr marL="1101725" indent="0">
              <a:buFontTx/>
              <a:buNone/>
              <a:defRPr>
                <a:solidFill>
                  <a:schemeClr val="bg1"/>
                </a:solidFill>
              </a:defRPr>
            </a:lvl4pPr>
            <a:lvl5pPr marL="1417637" indent="0">
              <a:buFontTx/>
              <a:buNone/>
              <a:defRPr>
                <a:solidFill>
                  <a:schemeClr val="bg1"/>
                </a:solidFill>
              </a:defRPr>
            </a:lvl5pPr>
          </a:lstStyle>
          <a:p>
            <a:pPr lvl="0"/>
            <a:r>
              <a:rPr lang="en-US" dirty="0"/>
              <a:t>Case Study 2</a:t>
            </a:r>
          </a:p>
        </p:txBody>
      </p:sp>
      <p:sp>
        <p:nvSpPr>
          <p:cNvPr id="21" name="Text Placeholder 20">
            <a:extLst>
              <a:ext uri="{FF2B5EF4-FFF2-40B4-BE49-F238E27FC236}">
                <a16:creationId xmlns:a16="http://schemas.microsoft.com/office/drawing/2014/main" id="{A8E0F22E-03D5-4502-8E42-6A2026C39BC5}"/>
              </a:ext>
            </a:extLst>
          </p:cNvPr>
          <p:cNvSpPr>
            <a:spLocks noGrp="1"/>
          </p:cNvSpPr>
          <p:nvPr userDrawn="1">
            <p:ph type="body" sz="quarter" idx="27" hasCustomPrompt="1"/>
          </p:nvPr>
        </p:nvSpPr>
        <p:spPr>
          <a:xfrm>
            <a:off x="3671009" y="5036185"/>
            <a:ext cx="1472491" cy="723900"/>
          </a:xfrm>
        </p:spPr>
        <p:txBody>
          <a:bodyPr anchor="ctr" anchorCtr="0"/>
          <a:lstStyle>
            <a:lvl1pPr marL="0" indent="0" algn="ctr">
              <a:buFontTx/>
              <a:buNone/>
              <a:defRPr sz="1400">
                <a:solidFill>
                  <a:schemeClr val="tx1"/>
                </a:solidFill>
              </a:defRPr>
            </a:lvl1pPr>
          </a:lstStyle>
          <a:p>
            <a:pPr lvl="0"/>
            <a:r>
              <a:rPr lang="en-US" dirty="0"/>
              <a:t>Paste logo</a:t>
            </a:r>
          </a:p>
        </p:txBody>
      </p:sp>
      <p:sp>
        <p:nvSpPr>
          <p:cNvPr id="5" name="Text Placeholder 4">
            <a:extLst>
              <a:ext uri="{FF2B5EF4-FFF2-40B4-BE49-F238E27FC236}">
                <a16:creationId xmlns:a16="http://schemas.microsoft.com/office/drawing/2014/main" id="{4AF8F5CE-15BE-4435-9208-3EFF81A3836F}"/>
              </a:ext>
            </a:extLst>
          </p:cNvPr>
          <p:cNvSpPr>
            <a:spLocks noGrp="1"/>
          </p:cNvSpPr>
          <p:nvPr>
            <p:ph type="body" sz="quarter" idx="28" hasCustomPrompt="1"/>
          </p:nvPr>
        </p:nvSpPr>
        <p:spPr>
          <a:xfrm>
            <a:off x="6261100" y="3163874"/>
            <a:ext cx="5486400" cy="1402435"/>
          </a:xfrm>
        </p:spPr>
        <p:txBody>
          <a:bodyPr vert="horz" lIns="0" tIns="0" rIns="0" bIns="0" rtlCol="0" anchor="ctr" anchorCtr="0">
            <a:spAutoFit/>
          </a:bodyPr>
          <a:lstStyle>
            <a:lvl1pPr>
              <a:defRPr lang="en-US" dirty="0"/>
            </a:lvl1pPr>
          </a:lstStyle>
          <a:p>
            <a:pPr lvl="0"/>
            <a:r>
              <a:rPr lang="en-US" dirty="0"/>
              <a:t>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7" name="Rectangle 6">
            <a:extLst>
              <a:ext uri="{FF2B5EF4-FFF2-40B4-BE49-F238E27FC236}">
                <a16:creationId xmlns:a16="http://schemas.microsoft.com/office/drawing/2014/main" id="{B2933FA5-FBC6-4FBE-9B21-0878DD812EFC}"/>
              </a:ext>
            </a:extLst>
          </p:cNvPr>
          <p:cNvSpPr txBox="1">
            <a:spLocks noChangeArrowheads="1"/>
          </p:cNvSpPr>
          <p:nvPr userDrawn="1"/>
        </p:nvSpPr>
        <p:spPr bwMode="ltGray">
          <a:xfrm>
            <a:off x="11567159" y="6679711"/>
            <a:ext cx="452825" cy="12311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914400" eaLnBrk="0" fontAlgn="base" latinLnBrk="0" hangingPunct="0">
              <a:lnSpc>
                <a:spcPct val="100000"/>
              </a:lnSpc>
              <a:spcBef>
                <a:spcPct val="0"/>
              </a:spcBef>
              <a:spcAft>
                <a:spcPct val="0"/>
              </a:spcAft>
              <a:buClrTx/>
              <a:buSzTx/>
              <a:buFontTx/>
              <a:buNone/>
              <a:tabLst/>
              <a:defRPr/>
            </a:pPr>
            <a:fld id="{8D7874BA-B114-4D1F-A449-70AD1C45E88A}" type="slidenum">
              <a:rPr kumimoji="0" lang="en-US" sz="800" b="0" i="0" u="none" strike="noStrike" kern="0" cap="none" spc="0" normalizeH="0" baseline="0" noProof="0" smtClean="0">
                <a:ln>
                  <a:noFill/>
                </a:ln>
                <a:solidFill>
                  <a:schemeClr val="tx2">
                    <a:lumMod val="75000"/>
                  </a:schemeClr>
                </a:solidFill>
                <a:effectLst/>
                <a:uLnTx/>
                <a:uFillTx/>
                <a:ea typeface="MS PGothic" pitchFamily="34" charset="-128"/>
              </a:rPr>
              <a:pPr marL="0" marR="0" lvl="0" indent="0" algn="r" defTabSz="914400" eaLnBrk="0" fontAlgn="base" latinLnBrk="0" hangingPunct="0">
                <a:lnSpc>
                  <a:spcPct val="100000"/>
                </a:lnSpc>
                <a:spcBef>
                  <a:spcPct val="0"/>
                </a:spcBef>
                <a:spcAft>
                  <a:spcPct val="0"/>
                </a:spcAft>
                <a:buClrTx/>
                <a:buSzTx/>
                <a:buFontTx/>
                <a:buNone/>
                <a:tabLst/>
                <a:defRPr/>
              </a:pPr>
              <a:t>‹#›</a:t>
            </a:fld>
            <a:endParaRPr kumimoji="0" lang="en-US" sz="800" b="0" i="0" u="none" strike="noStrike" kern="0" cap="none" spc="0" normalizeH="0" baseline="0" noProof="0" dirty="0">
              <a:ln>
                <a:noFill/>
              </a:ln>
              <a:solidFill>
                <a:schemeClr val="tx2">
                  <a:lumMod val="75000"/>
                </a:schemeClr>
              </a:solidFill>
              <a:effectLst/>
              <a:uLnTx/>
              <a:uFillTx/>
              <a:ea typeface="MS PGothic" pitchFamily="34" charset="-128"/>
            </a:endParaRPr>
          </a:p>
        </p:txBody>
      </p:sp>
    </p:spTree>
    <p:extLst>
      <p:ext uri="{BB962C8B-B14F-4D97-AF65-F5344CB8AC3E}">
        <p14:creationId xmlns:p14="http://schemas.microsoft.com/office/powerpoint/2010/main" val="1320695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cons w 3 Content">
    <p:spTree>
      <p:nvGrpSpPr>
        <p:cNvPr id="1" name=""/>
        <p:cNvGrpSpPr/>
        <p:nvPr/>
      </p:nvGrpSpPr>
      <p:grpSpPr>
        <a:xfrm>
          <a:off x="0" y="0"/>
          <a:ext cx="0" cy="0"/>
          <a:chOff x="0" y="0"/>
          <a:chExt cx="0" cy="0"/>
        </a:xfrm>
      </p:grpSpPr>
      <p:graphicFrame>
        <p:nvGraphicFramePr>
          <p:cNvPr id="41" name="Object 40" hidden="1">
            <a:extLst>
              <a:ext uri="{FF2B5EF4-FFF2-40B4-BE49-F238E27FC236}">
                <a16:creationId xmlns:a16="http://schemas.microsoft.com/office/drawing/2014/main" id="{917EBC3C-F2FD-4799-BA0A-65D895E6360A}"/>
              </a:ext>
            </a:extLst>
          </p:cNvPr>
          <p:cNvGraphicFramePr>
            <a:graphicFrameLocks noChangeAspect="1"/>
          </p:cNvGraphicFramePr>
          <p:nvPr>
            <p:custDataLst>
              <p:tags r:id="rId1"/>
            </p:custDataLst>
            <p:extLst>
              <p:ext uri="{D42A27DB-BD31-4B8C-83A1-F6EECF244321}">
                <p14:modId xmlns:p14="http://schemas.microsoft.com/office/powerpoint/2010/main" val="418368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1" name="Object 40" hidden="1">
                        <a:extLst>
                          <a:ext uri="{FF2B5EF4-FFF2-40B4-BE49-F238E27FC236}">
                            <a16:creationId xmlns:a16="http://schemas.microsoft.com/office/drawing/2014/main" id="{917EBC3C-F2FD-4799-BA0A-65D895E636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0" name="Rectangle 39" hidden="1">
            <a:extLst>
              <a:ext uri="{FF2B5EF4-FFF2-40B4-BE49-F238E27FC236}">
                <a16:creationId xmlns:a16="http://schemas.microsoft.com/office/drawing/2014/main" id="{2510D0F0-12AD-45C1-9B94-28859223557D}"/>
              </a:ext>
            </a:extLst>
          </p:cNvPr>
          <p:cNvSpPr/>
          <p:nvPr>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lnSpc>
                <a:spcPct val="90000"/>
              </a:lnSpc>
              <a:spcBef>
                <a:spcPts val="800"/>
              </a:spcBef>
            </a:pPr>
            <a:endParaRPr lang="en-US" sz="3200" b="0" i="0" baseline="0" dirty="0">
              <a:solidFill>
                <a:schemeClr val="bg1"/>
              </a:solidFill>
              <a:latin typeface="PTCRaleway" panose="020B0503030101060003" pitchFamily="34" charset="0"/>
              <a:ea typeface="+mj-ea"/>
              <a:cs typeface="+mj-cs"/>
              <a:sym typeface="Century Gothic" panose="020B0502020202020204" pitchFamily="34" charset="0"/>
            </a:endParaRPr>
          </a:p>
        </p:txBody>
      </p:sp>
      <p:sp>
        <p:nvSpPr>
          <p:cNvPr id="2" name="Title 1">
            <a:extLst>
              <a:ext uri="{FF2B5EF4-FFF2-40B4-BE49-F238E27FC236}">
                <a16:creationId xmlns:a16="http://schemas.microsoft.com/office/drawing/2014/main" id="{03ABE548-101B-4EAC-8CB7-BBD49E60436D}"/>
              </a:ext>
            </a:extLst>
          </p:cNvPr>
          <p:cNvSpPr>
            <a:spLocks noGrp="1"/>
          </p:cNvSpPr>
          <p:nvPr>
            <p:ph type="title" hasCustomPrompt="1"/>
          </p:nvPr>
        </p:nvSpPr>
        <p:spPr/>
        <p:txBody>
          <a:bodyPr/>
          <a:lstStyle/>
          <a:p>
            <a:r>
              <a:rPr lang="en-US" dirty="0"/>
              <a:t>add title – keep it brief</a:t>
            </a:r>
          </a:p>
        </p:txBody>
      </p:sp>
      <p:sp>
        <p:nvSpPr>
          <p:cNvPr id="33" name="Text Placeholder 32">
            <a:extLst>
              <a:ext uri="{FF2B5EF4-FFF2-40B4-BE49-F238E27FC236}">
                <a16:creationId xmlns:a16="http://schemas.microsoft.com/office/drawing/2014/main" id="{80B84918-AECE-4E9D-811A-C362EB2F227E}"/>
              </a:ext>
            </a:extLst>
          </p:cNvPr>
          <p:cNvSpPr>
            <a:spLocks noGrp="1"/>
          </p:cNvSpPr>
          <p:nvPr>
            <p:ph type="body" sz="quarter" idx="28" hasCustomPrompt="1"/>
          </p:nvPr>
        </p:nvSpPr>
        <p:spPr>
          <a:xfrm>
            <a:off x="495361" y="2862992"/>
            <a:ext cx="2834640" cy="235449"/>
          </a:xfrm>
        </p:spPr>
        <p:txBody>
          <a:bodyPr anchor="ctr" anchorCtr="0">
            <a:spAutoFit/>
          </a:bodyPr>
          <a:lstStyle>
            <a:lvl1pPr marL="0" indent="0" algn="ctr">
              <a:lnSpc>
                <a:spcPct val="85000"/>
              </a:lnSpc>
              <a:spcBef>
                <a:spcPts val="0"/>
              </a:spcBef>
              <a:buFontTx/>
              <a:buNone/>
              <a:defRPr sz="1800" b="1">
                <a:solidFill>
                  <a:schemeClr val="tx1"/>
                </a:solidFill>
              </a:defRPr>
            </a:lvl1pPr>
          </a:lstStyle>
          <a:p>
            <a:pPr lvl="0"/>
            <a:r>
              <a:rPr lang="en-US" dirty="0"/>
              <a:t>Add title</a:t>
            </a:r>
          </a:p>
        </p:txBody>
      </p:sp>
      <p:sp>
        <p:nvSpPr>
          <p:cNvPr id="35" name="Text Placeholder 34">
            <a:extLst>
              <a:ext uri="{FF2B5EF4-FFF2-40B4-BE49-F238E27FC236}">
                <a16:creationId xmlns:a16="http://schemas.microsoft.com/office/drawing/2014/main" id="{CFDD1C55-CC28-4EF8-AC55-64EE2B45BE57}"/>
              </a:ext>
            </a:extLst>
          </p:cNvPr>
          <p:cNvSpPr>
            <a:spLocks noGrp="1"/>
          </p:cNvSpPr>
          <p:nvPr>
            <p:ph type="body" sz="quarter" idx="29" hasCustomPrompt="1"/>
          </p:nvPr>
        </p:nvSpPr>
        <p:spPr>
          <a:xfrm>
            <a:off x="495044" y="4782219"/>
            <a:ext cx="2835275" cy="502920"/>
          </a:xfrm>
        </p:spPr>
        <p:txBody>
          <a:bodyPr>
            <a:spAutoFit/>
          </a:bodyPr>
          <a:lstStyle>
            <a:lvl1pPr marL="285750" indent="-285750" algn="ctr">
              <a:spcBef>
                <a:spcPts val="600"/>
              </a:spcBef>
              <a:buFontTx/>
              <a:buNone/>
              <a:defRPr sz="1600"/>
            </a:lvl1pPr>
            <a:lvl2pPr marL="386674" indent="0" algn="ctr">
              <a:buFontTx/>
              <a:buNone/>
              <a:defRPr sz="1600"/>
            </a:lvl2pPr>
            <a:lvl3pPr marL="704088" indent="0" algn="ctr">
              <a:buFontTx/>
              <a:buNone/>
              <a:defRPr sz="1600"/>
            </a:lvl3pPr>
            <a:lvl4pPr marL="987552" indent="0" algn="ctr">
              <a:buFontTx/>
              <a:buNone/>
              <a:defRPr sz="1600"/>
            </a:lvl4pPr>
            <a:lvl5pPr marL="1261872" indent="0" algn="ctr">
              <a:buFontTx/>
              <a:buNone/>
              <a:defRPr sz="1600"/>
            </a:lvl5pPr>
          </a:lstStyle>
          <a:p>
            <a:pPr marL="0" marR="0" lvl="0" indent="0" algn="ctr" defTabSz="914400" fontAlgn="auto">
              <a:lnSpc>
                <a:spcPct val="100000"/>
              </a:lnSpc>
              <a:spcBef>
                <a:spcPts val="0"/>
              </a:spcBef>
              <a:spcAft>
                <a:spcPts val="0"/>
              </a:spcAft>
              <a:buClrTx/>
              <a:buSzTx/>
              <a:buFontTx/>
              <a:buNone/>
              <a:tabLst/>
            </a:pPr>
            <a:r>
              <a:rPr lang="en-US" dirty="0"/>
              <a:t>Add a short paragraph – not too long – or a bulleted list</a:t>
            </a:r>
          </a:p>
        </p:txBody>
      </p:sp>
      <p:sp>
        <p:nvSpPr>
          <p:cNvPr id="36" name="Text Placeholder 32">
            <a:extLst>
              <a:ext uri="{FF2B5EF4-FFF2-40B4-BE49-F238E27FC236}">
                <a16:creationId xmlns:a16="http://schemas.microsoft.com/office/drawing/2014/main" id="{CDE670DD-0AD0-49A7-BBB7-6E14E24C352B}"/>
              </a:ext>
            </a:extLst>
          </p:cNvPr>
          <p:cNvSpPr>
            <a:spLocks noGrp="1"/>
          </p:cNvSpPr>
          <p:nvPr>
            <p:ph type="body" sz="quarter" idx="30" hasCustomPrompt="1"/>
          </p:nvPr>
        </p:nvSpPr>
        <p:spPr>
          <a:xfrm>
            <a:off x="4689976" y="2862992"/>
            <a:ext cx="2834640" cy="235449"/>
          </a:xfrm>
        </p:spPr>
        <p:txBody>
          <a:bodyPr anchor="ctr" anchorCtr="0">
            <a:spAutoFit/>
          </a:bodyPr>
          <a:lstStyle>
            <a:lvl1pPr marL="0" indent="0" algn="ctr">
              <a:lnSpc>
                <a:spcPct val="85000"/>
              </a:lnSpc>
              <a:spcBef>
                <a:spcPts val="0"/>
              </a:spcBef>
              <a:buFontTx/>
              <a:buNone/>
              <a:defRPr sz="1800" b="1">
                <a:solidFill>
                  <a:schemeClr val="tx1"/>
                </a:solidFill>
              </a:defRPr>
            </a:lvl1pPr>
          </a:lstStyle>
          <a:p>
            <a:pPr lvl="0"/>
            <a:r>
              <a:rPr lang="en-US" dirty="0"/>
              <a:t>Add title</a:t>
            </a:r>
          </a:p>
        </p:txBody>
      </p:sp>
      <p:sp>
        <p:nvSpPr>
          <p:cNvPr id="37" name="Text Placeholder 34">
            <a:extLst>
              <a:ext uri="{FF2B5EF4-FFF2-40B4-BE49-F238E27FC236}">
                <a16:creationId xmlns:a16="http://schemas.microsoft.com/office/drawing/2014/main" id="{FC9DE6F9-8E54-4D72-AB42-FB47C6AFD250}"/>
              </a:ext>
            </a:extLst>
          </p:cNvPr>
          <p:cNvSpPr>
            <a:spLocks noGrp="1"/>
          </p:cNvSpPr>
          <p:nvPr>
            <p:ph type="body" sz="quarter" idx="31" hasCustomPrompt="1"/>
          </p:nvPr>
        </p:nvSpPr>
        <p:spPr>
          <a:xfrm>
            <a:off x="4689659" y="4782219"/>
            <a:ext cx="2835275" cy="502920"/>
          </a:xfrm>
        </p:spPr>
        <p:txBody>
          <a:bodyPr>
            <a:spAutoFit/>
          </a:bodyPr>
          <a:lstStyle>
            <a:lvl1pPr marL="285750" indent="-285750" algn="ctr">
              <a:spcBef>
                <a:spcPts val="600"/>
              </a:spcBef>
              <a:buFontTx/>
              <a:buNone/>
              <a:defRPr sz="1600"/>
            </a:lvl1pPr>
            <a:lvl2pPr marL="386674" indent="0" algn="ctr">
              <a:buFontTx/>
              <a:buNone/>
              <a:defRPr sz="1600"/>
            </a:lvl2pPr>
            <a:lvl3pPr marL="704088" indent="0" algn="ctr">
              <a:buFontTx/>
              <a:buNone/>
              <a:defRPr sz="1600"/>
            </a:lvl3pPr>
            <a:lvl4pPr marL="987552" indent="0" algn="ctr">
              <a:buFontTx/>
              <a:buNone/>
              <a:defRPr sz="1600"/>
            </a:lvl4pPr>
            <a:lvl5pPr marL="1261872" indent="0" algn="ctr">
              <a:buFontTx/>
              <a:buNone/>
              <a:defRPr sz="1600"/>
            </a:lvl5pPr>
          </a:lstStyle>
          <a:p>
            <a:pPr marL="0" marR="0" lvl="0" indent="0" algn="ctr" defTabSz="914400" fontAlgn="auto">
              <a:lnSpc>
                <a:spcPct val="100000"/>
              </a:lnSpc>
              <a:spcBef>
                <a:spcPts val="0"/>
              </a:spcBef>
              <a:spcAft>
                <a:spcPts val="0"/>
              </a:spcAft>
              <a:buClrTx/>
              <a:buSzTx/>
              <a:buFontTx/>
              <a:buNone/>
              <a:tabLst/>
            </a:pPr>
            <a:r>
              <a:rPr lang="en-US" dirty="0"/>
              <a:t>Add a short paragraph – not too long – or a bulleted list</a:t>
            </a:r>
          </a:p>
        </p:txBody>
      </p:sp>
      <p:sp>
        <p:nvSpPr>
          <p:cNvPr id="38" name="Text Placeholder 32">
            <a:extLst>
              <a:ext uri="{FF2B5EF4-FFF2-40B4-BE49-F238E27FC236}">
                <a16:creationId xmlns:a16="http://schemas.microsoft.com/office/drawing/2014/main" id="{3183D2B9-482A-44BB-9D5F-DBFE89D19F85}"/>
              </a:ext>
            </a:extLst>
          </p:cNvPr>
          <p:cNvSpPr>
            <a:spLocks noGrp="1"/>
          </p:cNvSpPr>
          <p:nvPr>
            <p:ph type="body" sz="quarter" idx="32" hasCustomPrompt="1"/>
          </p:nvPr>
        </p:nvSpPr>
        <p:spPr>
          <a:xfrm>
            <a:off x="8871291" y="2862992"/>
            <a:ext cx="2834640" cy="235449"/>
          </a:xfrm>
        </p:spPr>
        <p:txBody>
          <a:bodyPr anchor="ctr" anchorCtr="0">
            <a:spAutoFit/>
          </a:bodyPr>
          <a:lstStyle>
            <a:lvl1pPr marL="0" indent="0" algn="ctr">
              <a:lnSpc>
                <a:spcPct val="85000"/>
              </a:lnSpc>
              <a:spcBef>
                <a:spcPts val="0"/>
              </a:spcBef>
              <a:buFontTx/>
              <a:buNone/>
              <a:defRPr sz="1800" b="1">
                <a:solidFill>
                  <a:schemeClr val="tx1"/>
                </a:solidFill>
              </a:defRPr>
            </a:lvl1pPr>
          </a:lstStyle>
          <a:p>
            <a:pPr lvl="0"/>
            <a:r>
              <a:rPr lang="en-US" dirty="0"/>
              <a:t>Add title</a:t>
            </a:r>
          </a:p>
        </p:txBody>
      </p:sp>
      <p:sp>
        <p:nvSpPr>
          <p:cNvPr id="39" name="Text Placeholder 34">
            <a:extLst>
              <a:ext uri="{FF2B5EF4-FFF2-40B4-BE49-F238E27FC236}">
                <a16:creationId xmlns:a16="http://schemas.microsoft.com/office/drawing/2014/main" id="{775FB311-5594-4514-9EFB-DF05142A6E8E}"/>
              </a:ext>
            </a:extLst>
          </p:cNvPr>
          <p:cNvSpPr>
            <a:spLocks noGrp="1"/>
          </p:cNvSpPr>
          <p:nvPr>
            <p:ph type="body" sz="quarter" idx="33" hasCustomPrompt="1"/>
          </p:nvPr>
        </p:nvSpPr>
        <p:spPr>
          <a:xfrm>
            <a:off x="8870974" y="4782219"/>
            <a:ext cx="2835275" cy="502920"/>
          </a:xfrm>
        </p:spPr>
        <p:txBody>
          <a:bodyPr>
            <a:spAutoFit/>
          </a:bodyPr>
          <a:lstStyle>
            <a:lvl1pPr marL="285750" indent="-285750" algn="ctr">
              <a:spcBef>
                <a:spcPts val="600"/>
              </a:spcBef>
              <a:buFontTx/>
              <a:buNone/>
              <a:defRPr sz="1600"/>
            </a:lvl1pPr>
            <a:lvl2pPr marL="386674" indent="0" algn="ctr">
              <a:buFontTx/>
              <a:buNone/>
              <a:defRPr sz="1600"/>
            </a:lvl2pPr>
            <a:lvl3pPr marL="704088" indent="0" algn="ctr">
              <a:buFontTx/>
              <a:buNone/>
              <a:defRPr sz="1600"/>
            </a:lvl3pPr>
            <a:lvl4pPr marL="987552" indent="0" algn="ctr">
              <a:buFontTx/>
              <a:buNone/>
              <a:defRPr sz="1600"/>
            </a:lvl4pPr>
            <a:lvl5pPr marL="1261872" indent="0" algn="ctr">
              <a:buFontTx/>
              <a:buNone/>
              <a:defRPr sz="1600"/>
            </a:lvl5pPr>
          </a:lstStyle>
          <a:p>
            <a:pPr marL="0" marR="0" lvl="0" indent="0" algn="ctr" defTabSz="914400" fontAlgn="auto">
              <a:lnSpc>
                <a:spcPct val="100000"/>
              </a:lnSpc>
              <a:spcBef>
                <a:spcPts val="0"/>
              </a:spcBef>
              <a:spcAft>
                <a:spcPts val="0"/>
              </a:spcAft>
              <a:buClrTx/>
              <a:buSzTx/>
              <a:buFontTx/>
              <a:buNone/>
              <a:tabLst/>
            </a:pPr>
            <a:r>
              <a:rPr lang="en-US" dirty="0"/>
              <a:t>Add a short paragraph – not too long – or a bulleted list</a:t>
            </a:r>
          </a:p>
        </p:txBody>
      </p:sp>
      <p:sp>
        <p:nvSpPr>
          <p:cNvPr id="20" name="Picture Placeholder 6">
            <a:extLst>
              <a:ext uri="{FF2B5EF4-FFF2-40B4-BE49-F238E27FC236}">
                <a16:creationId xmlns:a16="http://schemas.microsoft.com/office/drawing/2014/main" id="{8D4CC7BD-E27E-4EE8-A7DB-4AC115B1C01D}"/>
              </a:ext>
            </a:extLst>
          </p:cNvPr>
          <p:cNvSpPr>
            <a:spLocks noGrp="1"/>
          </p:cNvSpPr>
          <p:nvPr>
            <p:ph type="pic" sz="quarter" idx="39" hasCustomPrompt="1"/>
          </p:nvPr>
        </p:nvSpPr>
        <p:spPr>
          <a:xfrm>
            <a:off x="1604973" y="3754367"/>
            <a:ext cx="615416" cy="365760"/>
          </a:xfrm>
        </p:spPr>
        <p:txBody>
          <a:bodyPr/>
          <a:lstStyle>
            <a:lvl1pPr marL="0" indent="0" algn="ctr">
              <a:buFontTx/>
              <a:buNone/>
              <a:defRPr sz="800" b="1">
                <a:solidFill>
                  <a:schemeClr val="accent5"/>
                </a:solidFill>
              </a:defRPr>
            </a:lvl1pPr>
          </a:lstStyle>
          <a:p>
            <a:r>
              <a:rPr lang="en-US" dirty="0"/>
              <a:t>Paste icon from PTC PPT Library</a:t>
            </a:r>
          </a:p>
        </p:txBody>
      </p:sp>
      <p:sp>
        <p:nvSpPr>
          <p:cNvPr id="21" name="Picture Placeholder 6">
            <a:extLst>
              <a:ext uri="{FF2B5EF4-FFF2-40B4-BE49-F238E27FC236}">
                <a16:creationId xmlns:a16="http://schemas.microsoft.com/office/drawing/2014/main" id="{F8AD2306-5A92-4FC0-BFA9-0F7016A6CDAB}"/>
              </a:ext>
            </a:extLst>
          </p:cNvPr>
          <p:cNvSpPr>
            <a:spLocks noGrp="1"/>
          </p:cNvSpPr>
          <p:nvPr>
            <p:ph type="pic" sz="quarter" idx="40" hasCustomPrompt="1"/>
          </p:nvPr>
        </p:nvSpPr>
        <p:spPr>
          <a:xfrm>
            <a:off x="5799588" y="3754367"/>
            <a:ext cx="615416" cy="365760"/>
          </a:xfrm>
        </p:spPr>
        <p:txBody>
          <a:bodyPr/>
          <a:lstStyle>
            <a:lvl1pPr marL="0" indent="0" algn="ctr">
              <a:buFontTx/>
              <a:buNone/>
              <a:defRPr sz="800" b="1">
                <a:solidFill>
                  <a:schemeClr val="accent5"/>
                </a:solidFill>
              </a:defRPr>
            </a:lvl1pPr>
          </a:lstStyle>
          <a:p>
            <a:r>
              <a:rPr lang="en-US" dirty="0"/>
              <a:t>Paste icon from PTC PPT Library</a:t>
            </a:r>
          </a:p>
        </p:txBody>
      </p:sp>
      <p:sp>
        <p:nvSpPr>
          <p:cNvPr id="22" name="Picture Placeholder 6">
            <a:extLst>
              <a:ext uri="{FF2B5EF4-FFF2-40B4-BE49-F238E27FC236}">
                <a16:creationId xmlns:a16="http://schemas.microsoft.com/office/drawing/2014/main" id="{B0D23108-9BEB-4E78-980F-330123D90595}"/>
              </a:ext>
            </a:extLst>
          </p:cNvPr>
          <p:cNvSpPr>
            <a:spLocks noGrp="1"/>
          </p:cNvSpPr>
          <p:nvPr>
            <p:ph type="pic" sz="quarter" idx="41" hasCustomPrompt="1"/>
          </p:nvPr>
        </p:nvSpPr>
        <p:spPr>
          <a:xfrm>
            <a:off x="9980903" y="3754367"/>
            <a:ext cx="615416" cy="365760"/>
          </a:xfrm>
        </p:spPr>
        <p:txBody>
          <a:bodyPr/>
          <a:lstStyle>
            <a:lvl1pPr marL="0" indent="0" algn="ctr">
              <a:buFontTx/>
              <a:buNone/>
              <a:defRPr sz="800" b="1">
                <a:solidFill>
                  <a:schemeClr val="accent5"/>
                </a:solidFill>
              </a:defRPr>
            </a:lvl1pPr>
          </a:lstStyle>
          <a:p>
            <a:r>
              <a:rPr lang="en-US" dirty="0"/>
              <a:t>Paste icon from PTC PPT Library</a:t>
            </a:r>
          </a:p>
        </p:txBody>
      </p:sp>
      <p:sp>
        <p:nvSpPr>
          <p:cNvPr id="4" name="Text Placeholder 3">
            <a:extLst>
              <a:ext uri="{FF2B5EF4-FFF2-40B4-BE49-F238E27FC236}">
                <a16:creationId xmlns:a16="http://schemas.microsoft.com/office/drawing/2014/main" id="{D8559386-9143-433E-8318-1171FD2EFC88}"/>
              </a:ext>
            </a:extLst>
          </p:cNvPr>
          <p:cNvSpPr>
            <a:spLocks noGrp="1"/>
          </p:cNvSpPr>
          <p:nvPr>
            <p:ph type="body" sz="quarter" idx="42" hasCustomPrompt="1"/>
          </p:nvPr>
        </p:nvSpPr>
        <p:spPr>
          <a:xfrm>
            <a:off x="1158240" y="1709928"/>
            <a:ext cx="9875520" cy="304699"/>
          </a:xfrm>
          <a:noFill/>
        </p:spPr>
        <p:txBody>
          <a:bodyPr vert="horz" lIns="0" tIns="0" rIns="0" bIns="0" rtlCol="0" anchor="ctr" anchorCtr="0">
            <a:spAutoFit/>
          </a:bodyPr>
          <a:lstStyle>
            <a:lvl1pPr marL="0" indent="0" algn="ctr">
              <a:buFontTx/>
              <a:buNone/>
              <a:defRPr lang="en-US" sz="2200" dirty="0"/>
            </a:lvl1pPr>
          </a:lstStyle>
          <a:p>
            <a:pPr lvl="0"/>
            <a:r>
              <a:rPr lang="en-US" dirty="0"/>
              <a:t>Call out blurb</a:t>
            </a:r>
          </a:p>
        </p:txBody>
      </p:sp>
    </p:spTree>
    <p:extLst>
      <p:ext uri="{BB962C8B-B14F-4D97-AF65-F5344CB8AC3E}">
        <p14:creationId xmlns:p14="http://schemas.microsoft.com/office/powerpoint/2010/main" val="2019772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90760" y="1709928"/>
            <a:ext cx="10789920" cy="4572000"/>
          </a:xfrm>
        </p:spPr>
        <p:txBody>
          <a:bodyPr vert="horz" lIns="0" tIns="0" rIns="0" bIns="0" rtlCol="0">
            <a:noAutofit/>
          </a:bodyPr>
          <a:lstStyle>
            <a:lvl1pPr>
              <a:defRPr lang="en-US" noProof="0" dirty="0" smtClean="0"/>
            </a:lvl1pPr>
            <a:lvl2pPr>
              <a:defRPr lang="en-US" noProof="0" dirty="0" smtClean="0"/>
            </a:lvl2pPr>
            <a:lvl3pPr marL="932688">
              <a:defRPr lang="en-US" noProof="0" dirty="0" smtClean="0"/>
            </a:lvl3pPr>
            <a:lvl4pPr>
              <a:defRPr lang="en-US" noProof="0" dirty="0" smtClean="0"/>
            </a:lvl4pPr>
            <a:lvl5pPr>
              <a:defRPr lang="en-US" noProof="0" dirty="0"/>
            </a:lvl5pPr>
          </a:lstStyle>
          <a:p>
            <a:pPr lvl="0"/>
            <a:r>
              <a:rPr kumimoji="0" lang="en-US" sz="2400" b="0" i="0" u="none" strike="noStrike" kern="1200" cap="none" spc="0" normalizeH="0" baseline="0" noProof="0" dirty="0">
                <a:ln>
                  <a:noFill/>
                </a:ln>
                <a:solidFill>
                  <a:srgbClr val="3D4647"/>
                </a:solidFill>
                <a:effectLst/>
                <a:uLnTx/>
                <a:uFillTx/>
                <a:latin typeface="PTCRaleway"/>
                <a:ea typeface="+mn-ea"/>
                <a:cs typeface="+mn-cs"/>
              </a:rPr>
              <a:t>Add text</a:t>
            </a:r>
          </a:p>
          <a:p>
            <a:pPr lvl="1"/>
            <a:r>
              <a:rPr kumimoji="0" lang="en-US" sz="2000" b="0" i="0" u="none" strike="noStrike" kern="1200" cap="none" spc="0" normalizeH="0" baseline="0" noProof="0" dirty="0">
                <a:ln>
                  <a:noFill/>
                </a:ln>
                <a:solidFill>
                  <a:srgbClr val="3D4647"/>
                </a:solidFill>
                <a:effectLst/>
                <a:uLnTx/>
                <a:uFillTx/>
                <a:latin typeface="PTCRaleway"/>
                <a:ea typeface="+mn-ea"/>
                <a:cs typeface="+mn-cs"/>
              </a:rPr>
              <a:t>Second level</a:t>
            </a:r>
          </a:p>
          <a:p>
            <a:pPr lvl="2"/>
            <a:r>
              <a:rPr kumimoji="0" lang="en-US" sz="1800" b="0" i="0" u="none" strike="noStrike" kern="1200" cap="none" spc="0" normalizeH="0" baseline="0" noProof="0" dirty="0">
                <a:ln>
                  <a:noFill/>
                </a:ln>
                <a:solidFill>
                  <a:srgbClr val="3D4647"/>
                </a:solidFill>
                <a:effectLst/>
                <a:uLnTx/>
                <a:uFillTx/>
                <a:latin typeface="PTCRaleway"/>
                <a:ea typeface="+mn-ea"/>
                <a:cs typeface="+mn-cs"/>
              </a:rPr>
              <a:t>Third level</a:t>
            </a:r>
          </a:p>
          <a:p>
            <a:pPr lvl="3"/>
            <a:r>
              <a:rPr kumimoji="0" lang="en-US" sz="1600" b="0" i="0" u="none" strike="noStrike" kern="1200" cap="none" spc="0" normalizeH="0" baseline="0" noProof="0" dirty="0">
                <a:ln>
                  <a:noFill/>
                </a:ln>
                <a:solidFill>
                  <a:srgbClr val="3D4647"/>
                </a:solidFill>
                <a:effectLst/>
                <a:uLnTx/>
                <a:uFillTx/>
                <a:latin typeface="PTCRaleway"/>
                <a:ea typeface="+mn-ea"/>
                <a:cs typeface="+mn-cs"/>
              </a:rPr>
              <a:t>Fourth level</a:t>
            </a:r>
          </a:p>
          <a:p>
            <a:pPr lvl="4"/>
            <a:r>
              <a:rPr kumimoji="0" lang="en-US" sz="1400" b="0" i="0" u="none" strike="noStrike" kern="1200" cap="none" spc="0" normalizeH="0" baseline="0" noProof="0" dirty="0">
                <a:ln>
                  <a:noFill/>
                </a:ln>
                <a:solidFill>
                  <a:srgbClr val="3D4647"/>
                </a:solidFill>
                <a:effectLst/>
                <a:uLnTx/>
                <a:uFillTx/>
                <a:latin typeface="PTCRaleway"/>
                <a:ea typeface="+mn-ea"/>
                <a:cs typeface="+mn-cs"/>
              </a:rPr>
              <a:t>Fifth level</a:t>
            </a:r>
          </a:p>
        </p:txBody>
      </p:sp>
      <p:sp>
        <p:nvSpPr>
          <p:cNvPr id="4" name="Title 3">
            <a:extLst>
              <a:ext uri="{FF2B5EF4-FFF2-40B4-BE49-F238E27FC236}">
                <a16:creationId xmlns:a16="http://schemas.microsoft.com/office/drawing/2014/main" id="{C14A7928-2068-42B4-AB1B-DA77806D13C2}"/>
              </a:ext>
            </a:extLst>
          </p:cNvPr>
          <p:cNvSpPr>
            <a:spLocks noGrp="1"/>
          </p:cNvSpPr>
          <p:nvPr>
            <p:ph type="title" hasCustomPrompt="1"/>
          </p:nvPr>
        </p:nvSpPr>
        <p:spPr>
          <a:xfrm>
            <a:off x="490760" y="678174"/>
            <a:ext cx="10789920" cy="369332"/>
          </a:xfrm>
        </p:spPr>
        <p:txBody>
          <a:bodyPr/>
          <a:lstStyle>
            <a:lvl1pPr>
              <a:defRPr/>
            </a:lvl1pPr>
          </a:lstStyle>
          <a:p>
            <a:r>
              <a:rPr lang="en-US" dirty="0"/>
              <a:t>add title – keep it brief</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Icons w 4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D0DD1B2-3E44-448A-B29D-4BF5525EAF82}"/>
              </a:ext>
            </a:extLst>
          </p:cNvPr>
          <p:cNvGraphicFramePr>
            <a:graphicFrameLocks noChangeAspect="1"/>
          </p:cNvGraphicFramePr>
          <p:nvPr>
            <p:custDataLst>
              <p:tags r:id="rId1"/>
            </p:custDataLst>
            <p:extLst>
              <p:ext uri="{D42A27DB-BD31-4B8C-83A1-F6EECF244321}">
                <p14:modId xmlns:p14="http://schemas.microsoft.com/office/powerpoint/2010/main" val="42925443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a:extLst>
                          <a:ext uri="{FF2B5EF4-FFF2-40B4-BE49-F238E27FC236}">
                            <a16:creationId xmlns:a16="http://schemas.microsoft.com/office/drawing/2014/main" id="{CD0DD1B2-3E44-448A-B29D-4BF5525EAF8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3F8CDBA-3DC1-4B48-9D1F-EF614A8FDDB5}"/>
              </a:ext>
            </a:extLst>
          </p:cNvPr>
          <p:cNvSpPr/>
          <p:nvPr>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lnSpc>
                <a:spcPct val="90000"/>
              </a:lnSpc>
              <a:spcBef>
                <a:spcPts val="800"/>
              </a:spcBef>
            </a:pPr>
            <a:endParaRPr lang="en-US" sz="3200" b="0" i="0" baseline="0" dirty="0">
              <a:solidFill>
                <a:schemeClr val="bg1"/>
              </a:solidFill>
              <a:latin typeface="PTCRaleway" panose="020B0503030101060003" pitchFamily="34" charset="0"/>
              <a:ea typeface="+mj-ea"/>
              <a:cs typeface="+mj-cs"/>
              <a:sym typeface="Century Gothic" panose="020B0502020202020204" pitchFamily="34" charset="0"/>
            </a:endParaRPr>
          </a:p>
        </p:txBody>
      </p:sp>
      <p:sp>
        <p:nvSpPr>
          <p:cNvPr id="2" name="Title 1">
            <a:extLst>
              <a:ext uri="{FF2B5EF4-FFF2-40B4-BE49-F238E27FC236}">
                <a16:creationId xmlns:a16="http://schemas.microsoft.com/office/drawing/2014/main" id="{BF0272BA-DF00-4403-901D-E1E0848AA754}"/>
              </a:ext>
            </a:extLst>
          </p:cNvPr>
          <p:cNvSpPr>
            <a:spLocks noGrp="1"/>
          </p:cNvSpPr>
          <p:nvPr>
            <p:ph type="title" hasCustomPrompt="1"/>
          </p:nvPr>
        </p:nvSpPr>
        <p:spPr/>
        <p:txBody>
          <a:bodyPr/>
          <a:lstStyle/>
          <a:p>
            <a:r>
              <a:rPr lang="en-US" dirty="0"/>
              <a:t>add title – keep it brief</a:t>
            </a:r>
          </a:p>
        </p:txBody>
      </p:sp>
      <p:sp>
        <p:nvSpPr>
          <p:cNvPr id="52" name="Text Placeholder 32">
            <a:extLst>
              <a:ext uri="{FF2B5EF4-FFF2-40B4-BE49-F238E27FC236}">
                <a16:creationId xmlns:a16="http://schemas.microsoft.com/office/drawing/2014/main" id="{490C73DF-CFB4-4B5B-92C8-F90E3A62E77F}"/>
              </a:ext>
            </a:extLst>
          </p:cNvPr>
          <p:cNvSpPr>
            <a:spLocks noGrp="1"/>
          </p:cNvSpPr>
          <p:nvPr>
            <p:ph type="body" sz="quarter" idx="28" hasCustomPrompt="1"/>
          </p:nvPr>
        </p:nvSpPr>
        <p:spPr>
          <a:xfrm>
            <a:off x="500204" y="2864755"/>
            <a:ext cx="1936096" cy="209288"/>
          </a:xfrm>
        </p:spPr>
        <p:txBody>
          <a:bodyPr anchor="ctr" anchorCtr="0">
            <a:spAutoFit/>
          </a:bodyPr>
          <a:lstStyle>
            <a:lvl1pPr marL="0" indent="0" algn="ctr">
              <a:lnSpc>
                <a:spcPct val="85000"/>
              </a:lnSpc>
              <a:spcBef>
                <a:spcPts val="0"/>
              </a:spcBef>
              <a:buFontTx/>
              <a:buNone/>
              <a:defRPr sz="1600" b="1">
                <a:solidFill>
                  <a:schemeClr val="tx1"/>
                </a:solidFill>
              </a:defRPr>
            </a:lvl1pPr>
          </a:lstStyle>
          <a:p>
            <a:pPr lvl="0"/>
            <a:r>
              <a:rPr lang="en-US" dirty="0"/>
              <a:t>Add title</a:t>
            </a:r>
          </a:p>
        </p:txBody>
      </p:sp>
      <p:sp>
        <p:nvSpPr>
          <p:cNvPr id="53" name="Text Placeholder 34">
            <a:extLst>
              <a:ext uri="{FF2B5EF4-FFF2-40B4-BE49-F238E27FC236}">
                <a16:creationId xmlns:a16="http://schemas.microsoft.com/office/drawing/2014/main" id="{FE00311D-162D-450B-AAB4-212D530B9965}"/>
              </a:ext>
            </a:extLst>
          </p:cNvPr>
          <p:cNvSpPr>
            <a:spLocks noGrp="1"/>
          </p:cNvSpPr>
          <p:nvPr>
            <p:ph type="body" sz="quarter" idx="29" hasCustomPrompt="1"/>
          </p:nvPr>
        </p:nvSpPr>
        <p:spPr>
          <a:xfrm>
            <a:off x="499986" y="4784343"/>
            <a:ext cx="1936532" cy="646331"/>
          </a:xfrm>
        </p:spPr>
        <p:txBody>
          <a:bodyPr>
            <a:spAutoFit/>
          </a:bodyPr>
          <a:lstStyle>
            <a:lvl1pPr marL="285750" indent="-285750" algn="ctr">
              <a:spcBef>
                <a:spcPts val="600"/>
              </a:spcBef>
              <a:buFontTx/>
              <a:buNone/>
              <a:defRPr sz="1400"/>
            </a:lvl1pPr>
            <a:lvl2pPr marL="386674" indent="0" algn="ctr">
              <a:buFontTx/>
              <a:buNone/>
              <a:defRPr sz="1600"/>
            </a:lvl2pPr>
            <a:lvl3pPr marL="704088" indent="0" algn="ctr">
              <a:buFontTx/>
              <a:buNone/>
              <a:defRPr sz="1600"/>
            </a:lvl3pPr>
            <a:lvl4pPr marL="987552" indent="0" algn="ctr">
              <a:buFontTx/>
              <a:buNone/>
              <a:defRPr sz="1600"/>
            </a:lvl4pPr>
            <a:lvl5pPr marL="1261872" indent="0" algn="ctr">
              <a:buFontTx/>
              <a:buNone/>
              <a:defRPr sz="1600"/>
            </a:lvl5pPr>
          </a:lstStyle>
          <a:p>
            <a:pPr marL="0" marR="0" lvl="0" indent="0" algn="ctr" defTabSz="914400" fontAlgn="auto">
              <a:lnSpc>
                <a:spcPct val="100000"/>
              </a:lnSpc>
              <a:spcBef>
                <a:spcPts val="0"/>
              </a:spcBef>
              <a:spcAft>
                <a:spcPts val="0"/>
              </a:spcAft>
              <a:buClrTx/>
              <a:buSzTx/>
              <a:buFontTx/>
              <a:buNone/>
              <a:tabLst/>
            </a:pPr>
            <a:r>
              <a:rPr lang="en-US" dirty="0"/>
              <a:t>Add a short paragraph – not too long – or a bulleted list</a:t>
            </a:r>
          </a:p>
        </p:txBody>
      </p:sp>
      <p:sp>
        <p:nvSpPr>
          <p:cNvPr id="58" name="Text Placeholder 32">
            <a:extLst>
              <a:ext uri="{FF2B5EF4-FFF2-40B4-BE49-F238E27FC236}">
                <a16:creationId xmlns:a16="http://schemas.microsoft.com/office/drawing/2014/main" id="{9D12CB28-EBBA-4213-84C3-27EE8E1195B3}"/>
              </a:ext>
            </a:extLst>
          </p:cNvPr>
          <p:cNvSpPr>
            <a:spLocks noGrp="1"/>
          </p:cNvSpPr>
          <p:nvPr>
            <p:ph type="body" sz="quarter" idx="31" hasCustomPrompt="1"/>
          </p:nvPr>
        </p:nvSpPr>
        <p:spPr>
          <a:xfrm>
            <a:off x="3602199" y="2864755"/>
            <a:ext cx="1936096" cy="209288"/>
          </a:xfrm>
        </p:spPr>
        <p:txBody>
          <a:bodyPr anchor="ctr" anchorCtr="0">
            <a:spAutoFit/>
          </a:bodyPr>
          <a:lstStyle>
            <a:lvl1pPr marL="0" indent="0" algn="ctr">
              <a:lnSpc>
                <a:spcPct val="85000"/>
              </a:lnSpc>
              <a:spcBef>
                <a:spcPts val="0"/>
              </a:spcBef>
              <a:buFontTx/>
              <a:buNone/>
              <a:defRPr sz="1600" b="1">
                <a:solidFill>
                  <a:schemeClr val="tx1"/>
                </a:solidFill>
              </a:defRPr>
            </a:lvl1pPr>
          </a:lstStyle>
          <a:p>
            <a:pPr lvl="0"/>
            <a:r>
              <a:rPr lang="en-US" dirty="0"/>
              <a:t>Add title</a:t>
            </a:r>
          </a:p>
        </p:txBody>
      </p:sp>
      <p:sp>
        <p:nvSpPr>
          <p:cNvPr id="59" name="Text Placeholder 34">
            <a:extLst>
              <a:ext uri="{FF2B5EF4-FFF2-40B4-BE49-F238E27FC236}">
                <a16:creationId xmlns:a16="http://schemas.microsoft.com/office/drawing/2014/main" id="{A8089C8B-DB33-4F20-A90E-29D5706AC690}"/>
              </a:ext>
            </a:extLst>
          </p:cNvPr>
          <p:cNvSpPr>
            <a:spLocks noGrp="1"/>
          </p:cNvSpPr>
          <p:nvPr>
            <p:ph type="body" sz="quarter" idx="32" hasCustomPrompt="1"/>
          </p:nvPr>
        </p:nvSpPr>
        <p:spPr>
          <a:xfrm>
            <a:off x="3601981" y="4784343"/>
            <a:ext cx="1936532" cy="646331"/>
          </a:xfrm>
        </p:spPr>
        <p:txBody>
          <a:bodyPr>
            <a:spAutoFit/>
          </a:bodyPr>
          <a:lstStyle>
            <a:lvl1pPr marL="285750" indent="-285750" algn="ctr">
              <a:spcBef>
                <a:spcPts val="600"/>
              </a:spcBef>
              <a:buFontTx/>
              <a:buNone/>
              <a:defRPr sz="1400"/>
            </a:lvl1pPr>
            <a:lvl2pPr marL="386674" indent="0" algn="ctr">
              <a:buFontTx/>
              <a:buNone/>
              <a:defRPr sz="1600"/>
            </a:lvl2pPr>
            <a:lvl3pPr marL="704088" indent="0" algn="ctr">
              <a:buFontTx/>
              <a:buNone/>
              <a:defRPr sz="1600"/>
            </a:lvl3pPr>
            <a:lvl4pPr marL="987552" indent="0" algn="ctr">
              <a:buFontTx/>
              <a:buNone/>
              <a:defRPr sz="1600"/>
            </a:lvl4pPr>
            <a:lvl5pPr marL="1261872" indent="0" algn="ctr">
              <a:buFontTx/>
              <a:buNone/>
              <a:defRPr sz="1600"/>
            </a:lvl5pPr>
          </a:lstStyle>
          <a:p>
            <a:pPr marL="0" marR="0" lvl="0" indent="0" algn="ctr" defTabSz="914400" fontAlgn="auto">
              <a:lnSpc>
                <a:spcPct val="100000"/>
              </a:lnSpc>
              <a:spcBef>
                <a:spcPts val="0"/>
              </a:spcBef>
              <a:spcAft>
                <a:spcPts val="0"/>
              </a:spcAft>
              <a:buClrTx/>
              <a:buSzTx/>
              <a:buFontTx/>
              <a:buNone/>
              <a:tabLst/>
            </a:pPr>
            <a:r>
              <a:rPr lang="en-US" dirty="0"/>
              <a:t>Add a short paragraph – not too long – or a bulleted list</a:t>
            </a:r>
          </a:p>
        </p:txBody>
      </p:sp>
      <p:sp>
        <p:nvSpPr>
          <p:cNvPr id="61" name="Text Placeholder 32">
            <a:extLst>
              <a:ext uri="{FF2B5EF4-FFF2-40B4-BE49-F238E27FC236}">
                <a16:creationId xmlns:a16="http://schemas.microsoft.com/office/drawing/2014/main" id="{16964035-D680-41E2-BCE6-EDBF1662979F}"/>
              </a:ext>
            </a:extLst>
          </p:cNvPr>
          <p:cNvSpPr>
            <a:spLocks noGrp="1"/>
          </p:cNvSpPr>
          <p:nvPr>
            <p:ph type="body" sz="quarter" idx="34" hasCustomPrompt="1"/>
          </p:nvPr>
        </p:nvSpPr>
        <p:spPr>
          <a:xfrm>
            <a:off x="6682692" y="2864755"/>
            <a:ext cx="1936096" cy="209288"/>
          </a:xfrm>
        </p:spPr>
        <p:txBody>
          <a:bodyPr anchor="ctr" anchorCtr="0">
            <a:spAutoFit/>
          </a:bodyPr>
          <a:lstStyle>
            <a:lvl1pPr marL="0" indent="0" algn="ctr">
              <a:lnSpc>
                <a:spcPct val="85000"/>
              </a:lnSpc>
              <a:spcBef>
                <a:spcPts val="0"/>
              </a:spcBef>
              <a:buFontTx/>
              <a:buNone/>
              <a:defRPr sz="1600" b="1">
                <a:solidFill>
                  <a:schemeClr val="tx1"/>
                </a:solidFill>
              </a:defRPr>
            </a:lvl1pPr>
          </a:lstStyle>
          <a:p>
            <a:pPr lvl="0"/>
            <a:r>
              <a:rPr lang="en-US" dirty="0"/>
              <a:t>Add title</a:t>
            </a:r>
          </a:p>
        </p:txBody>
      </p:sp>
      <p:sp>
        <p:nvSpPr>
          <p:cNvPr id="62" name="Text Placeholder 34">
            <a:extLst>
              <a:ext uri="{FF2B5EF4-FFF2-40B4-BE49-F238E27FC236}">
                <a16:creationId xmlns:a16="http://schemas.microsoft.com/office/drawing/2014/main" id="{F7D72ACE-A6E3-49BA-B635-B4FF555C66B6}"/>
              </a:ext>
            </a:extLst>
          </p:cNvPr>
          <p:cNvSpPr>
            <a:spLocks noGrp="1"/>
          </p:cNvSpPr>
          <p:nvPr>
            <p:ph type="body" sz="quarter" idx="35" hasCustomPrompt="1"/>
          </p:nvPr>
        </p:nvSpPr>
        <p:spPr>
          <a:xfrm>
            <a:off x="6682474" y="4784343"/>
            <a:ext cx="1936532" cy="646331"/>
          </a:xfrm>
        </p:spPr>
        <p:txBody>
          <a:bodyPr>
            <a:spAutoFit/>
          </a:bodyPr>
          <a:lstStyle>
            <a:lvl1pPr marL="285750" indent="-285750" algn="ctr">
              <a:spcBef>
                <a:spcPts val="600"/>
              </a:spcBef>
              <a:buFontTx/>
              <a:buNone/>
              <a:defRPr sz="1400"/>
            </a:lvl1pPr>
            <a:lvl2pPr marL="386674" indent="0" algn="ctr">
              <a:buFontTx/>
              <a:buNone/>
              <a:defRPr sz="1600"/>
            </a:lvl2pPr>
            <a:lvl3pPr marL="704088" indent="0" algn="ctr">
              <a:buFontTx/>
              <a:buNone/>
              <a:defRPr sz="1600"/>
            </a:lvl3pPr>
            <a:lvl4pPr marL="987552" indent="0" algn="ctr">
              <a:buFontTx/>
              <a:buNone/>
              <a:defRPr sz="1600"/>
            </a:lvl4pPr>
            <a:lvl5pPr marL="1261872" indent="0" algn="ctr">
              <a:buFontTx/>
              <a:buNone/>
              <a:defRPr sz="1600"/>
            </a:lvl5pPr>
          </a:lstStyle>
          <a:p>
            <a:pPr marL="0" marR="0" lvl="0" indent="0" algn="ctr" defTabSz="914400" fontAlgn="auto">
              <a:lnSpc>
                <a:spcPct val="100000"/>
              </a:lnSpc>
              <a:spcBef>
                <a:spcPts val="0"/>
              </a:spcBef>
              <a:spcAft>
                <a:spcPts val="0"/>
              </a:spcAft>
              <a:buClrTx/>
              <a:buSzTx/>
              <a:buFontTx/>
              <a:buNone/>
              <a:tabLst/>
            </a:pPr>
            <a:r>
              <a:rPr lang="en-US" dirty="0"/>
              <a:t>Add a short paragraph – not too long – or a bulleted list</a:t>
            </a:r>
          </a:p>
        </p:txBody>
      </p:sp>
      <p:sp>
        <p:nvSpPr>
          <p:cNvPr id="64" name="Text Placeholder 32">
            <a:extLst>
              <a:ext uri="{FF2B5EF4-FFF2-40B4-BE49-F238E27FC236}">
                <a16:creationId xmlns:a16="http://schemas.microsoft.com/office/drawing/2014/main" id="{41F1B747-4A09-4131-B94D-7B72FE0ADA1F}"/>
              </a:ext>
            </a:extLst>
          </p:cNvPr>
          <p:cNvSpPr>
            <a:spLocks noGrp="1"/>
          </p:cNvSpPr>
          <p:nvPr>
            <p:ph type="body" sz="quarter" idx="37" hasCustomPrompt="1"/>
          </p:nvPr>
        </p:nvSpPr>
        <p:spPr>
          <a:xfrm>
            <a:off x="9771648" y="2864755"/>
            <a:ext cx="1936096" cy="209288"/>
          </a:xfrm>
        </p:spPr>
        <p:txBody>
          <a:bodyPr anchor="ctr" anchorCtr="0">
            <a:spAutoFit/>
          </a:bodyPr>
          <a:lstStyle>
            <a:lvl1pPr marL="0" indent="0" algn="ctr">
              <a:lnSpc>
                <a:spcPct val="85000"/>
              </a:lnSpc>
              <a:spcBef>
                <a:spcPts val="0"/>
              </a:spcBef>
              <a:buFontTx/>
              <a:buNone/>
              <a:defRPr sz="1600" b="1">
                <a:solidFill>
                  <a:schemeClr val="tx1"/>
                </a:solidFill>
              </a:defRPr>
            </a:lvl1pPr>
          </a:lstStyle>
          <a:p>
            <a:pPr lvl="0"/>
            <a:r>
              <a:rPr lang="en-US" dirty="0"/>
              <a:t>Add title</a:t>
            </a:r>
          </a:p>
        </p:txBody>
      </p:sp>
      <p:sp>
        <p:nvSpPr>
          <p:cNvPr id="65" name="Text Placeholder 34">
            <a:extLst>
              <a:ext uri="{FF2B5EF4-FFF2-40B4-BE49-F238E27FC236}">
                <a16:creationId xmlns:a16="http://schemas.microsoft.com/office/drawing/2014/main" id="{4B4EBABA-E6CB-464F-9FBA-E5F9B03A37E8}"/>
              </a:ext>
            </a:extLst>
          </p:cNvPr>
          <p:cNvSpPr>
            <a:spLocks noGrp="1"/>
          </p:cNvSpPr>
          <p:nvPr>
            <p:ph type="body" sz="quarter" idx="38" hasCustomPrompt="1"/>
          </p:nvPr>
        </p:nvSpPr>
        <p:spPr>
          <a:xfrm>
            <a:off x="9771430" y="4784343"/>
            <a:ext cx="1936532" cy="646331"/>
          </a:xfrm>
        </p:spPr>
        <p:txBody>
          <a:bodyPr>
            <a:spAutoFit/>
          </a:bodyPr>
          <a:lstStyle>
            <a:lvl1pPr marL="285750" indent="-285750" algn="ctr">
              <a:spcBef>
                <a:spcPts val="600"/>
              </a:spcBef>
              <a:buFontTx/>
              <a:buNone/>
              <a:defRPr sz="1400"/>
            </a:lvl1pPr>
            <a:lvl2pPr marL="386674" indent="0" algn="ctr">
              <a:buFontTx/>
              <a:buNone/>
              <a:defRPr sz="1600"/>
            </a:lvl2pPr>
            <a:lvl3pPr marL="704088" indent="0" algn="ctr">
              <a:buFontTx/>
              <a:buNone/>
              <a:defRPr sz="1600"/>
            </a:lvl3pPr>
            <a:lvl4pPr marL="987552" indent="0" algn="ctr">
              <a:buFontTx/>
              <a:buNone/>
              <a:defRPr sz="1600"/>
            </a:lvl4pPr>
            <a:lvl5pPr marL="1261872" indent="0" algn="ctr">
              <a:buFontTx/>
              <a:buNone/>
              <a:defRPr sz="1600"/>
            </a:lvl5pPr>
          </a:lstStyle>
          <a:p>
            <a:pPr marL="0" marR="0" lvl="0" indent="0" algn="ctr" defTabSz="914400" fontAlgn="auto">
              <a:lnSpc>
                <a:spcPct val="100000"/>
              </a:lnSpc>
              <a:spcBef>
                <a:spcPts val="0"/>
              </a:spcBef>
              <a:spcAft>
                <a:spcPts val="0"/>
              </a:spcAft>
              <a:buClrTx/>
              <a:buSzTx/>
              <a:buFontTx/>
              <a:buNone/>
              <a:tabLst/>
            </a:pPr>
            <a:r>
              <a:rPr lang="en-US" dirty="0"/>
              <a:t>Add a short paragraph – not too long – or a bulleted list</a:t>
            </a:r>
          </a:p>
        </p:txBody>
      </p:sp>
      <p:sp>
        <p:nvSpPr>
          <p:cNvPr id="25" name="Picture Placeholder 6">
            <a:extLst>
              <a:ext uri="{FF2B5EF4-FFF2-40B4-BE49-F238E27FC236}">
                <a16:creationId xmlns:a16="http://schemas.microsoft.com/office/drawing/2014/main" id="{1AEB5892-C8FD-4265-8F93-69E01BC959CC}"/>
              </a:ext>
            </a:extLst>
          </p:cNvPr>
          <p:cNvSpPr>
            <a:spLocks noGrp="1"/>
          </p:cNvSpPr>
          <p:nvPr>
            <p:ph type="pic" sz="quarter" idx="39" hasCustomPrompt="1"/>
          </p:nvPr>
        </p:nvSpPr>
        <p:spPr>
          <a:xfrm>
            <a:off x="1160544" y="3730183"/>
            <a:ext cx="615416" cy="365760"/>
          </a:xfrm>
        </p:spPr>
        <p:txBody>
          <a:bodyPr/>
          <a:lstStyle>
            <a:lvl1pPr marL="0" indent="0" algn="ctr">
              <a:buFontTx/>
              <a:buNone/>
              <a:defRPr sz="800" b="1">
                <a:solidFill>
                  <a:schemeClr val="accent5"/>
                </a:solidFill>
              </a:defRPr>
            </a:lvl1pPr>
          </a:lstStyle>
          <a:p>
            <a:r>
              <a:rPr lang="en-US" dirty="0"/>
              <a:t>Paste icon from PTC PPT Library</a:t>
            </a:r>
          </a:p>
        </p:txBody>
      </p:sp>
      <p:sp>
        <p:nvSpPr>
          <p:cNvPr id="26" name="Picture Placeholder 6">
            <a:extLst>
              <a:ext uri="{FF2B5EF4-FFF2-40B4-BE49-F238E27FC236}">
                <a16:creationId xmlns:a16="http://schemas.microsoft.com/office/drawing/2014/main" id="{FA7A40C7-5620-4D59-8DE5-CA304D9A962A}"/>
              </a:ext>
            </a:extLst>
          </p:cNvPr>
          <p:cNvSpPr>
            <a:spLocks noGrp="1"/>
          </p:cNvSpPr>
          <p:nvPr>
            <p:ph type="pic" sz="quarter" idx="40" hasCustomPrompt="1"/>
          </p:nvPr>
        </p:nvSpPr>
        <p:spPr>
          <a:xfrm>
            <a:off x="4262539" y="3730183"/>
            <a:ext cx="615416" cy="365760"/>
          </a:xfrm>
        </p:spPr>
        <p:txBody>
          <a:bodyPr/>
          <a:lstStyle>
            <a:lvl1pPr marL="0" indent="0" algn="ctr">
              <a:buFontTx/>
              <a:buNone/>
              <a:defRPr sz="800" b="1">
                <a:solidFill>
                  <a:schemeClr val="accent5"/>
                </a:solidFill>
              </a:defRPr>
            </a:lvl1pPr>
          </a:lstStyle>
          <a:p>
            <a:r>
              <a:rPr lang="en-US" dirty="0"/>
              <a:t>Paste icon from PTC PPT Library</a:t>
            </a:r>
          </a:p>
        </p:txBody>
      </p:sp>
      <p:sp>
        <p:nvSpPr>
          <p:cNvPr id="27" name="Picture Placeholder 6">
            <a:extLst>
              <a:ext uri="{FF2B5EF4-FFF2-40B4-BE49-F238E27FC236}">
                <a16:creationId xmlns:a16="http://schemas.microsoft.com/office/drawing/2014/main" id="{4F6992F5-14F1-443B-A56F-0DAFD3A17D10}"/>
              </a:ext>
            </a:extLst>
          </p:cNvPr>
          <p:cNvSpPr>
            <a:spLocks noGrp="1"/>
          </p:cNvSpPr>
          <p:nvPr>
            <p:ph type="pic" sz="quarter" idx="36" hasCustomPrompt="1"/>
          </p:nvPr>
        </p:nvSpPr>
        <p:spPr>
          <a:xfrm>
            <a:off x="10431988" y="3730183"/>
            <a:ext cx="615416" cy="365760"/>
          </a:xfrm>
        </p:spPr>
        <p:txBody>
          <a:bodyPr/>
          <a:lstStyle>
            <a:lvl1pPr marL="0" indent="0" algn="ctr">
              <a:buFontTx/>
              <a:buNone/>
              <a:defRPr sz="800" b="1">
                <a:solidFill>
                  <a:schemeClr val="accent5"/>
                </a:solidFill>
              </a:defRPr>
            </a:lvl1pPr>
          </a:lstStyle>
          <a:p>
            <a:r>
              <a:rPr lang="en-US" dirty="0"/>
              <a:t>Paste icon from PTC PPT Library</a:t>
            </a:r>
          </a:p>
        </p:txBody>
      </p:sp>
      <p:sp>
        <p:nvSpPr>
          <p:cNvPr id="28" name="Picture Placeholder 6">
            <a:extLst>
              <a:ext uri="{FF2B5EF4-FFF2-40B4-BE49-F238E27FC236}">
                <a16:creationId xmlns:a16="http://schemas.microsoft.com/office/drawing/2014/main" id="{475F2538-CC6F-47C5-8E22-46B3CA1900DD}"/>
              </a:ext>
            </a:extLst>
          </p:cNvPr>
          <p:cNvSpPr>
            <a:spLocks noGrp="1"/>
          </p:cNvSpPr>
          <p:nvPr>
            <p:ph type="pic" sz="quarter" idx="41" hasCustomPrompt="1"/>
          </p:nvPr>
        </p:nvSpPr>
        <p:spPr>
          <a:xfrm>
            <a:off x="7343032" y="3730183"/>
            <a:ext cx="615416" cy="365760"/>
          </a:xfrm>
        </p:spPr>
        <p:txBody>
          <a:bodyPr/>
          <a:lstStyle>
            <a:lvl1pPr marL="0" indent="0" algn="ctr">
              <a:buFontTx/>
              <a:buNone/>
              <a:defRPr sz="800" b="1">
                <a:solidFill>
                  <a:schemeClr val="accent5"/>
                </a:solidFill>
              </a:defRPr>
            </a:lvl1pPr>
          </a:lstStyle>
          <a:p>
            <a:r>
              <a:rPr lang="en-US" dirty="0"/>
              <a:t>Paste icon from PTC PPT Library</a:t>
            </a:r>
          </a:p>
        </p:txBody>
      </p:sp>
      <p:sp>
        <p:nvSpPr>
          <p:cNvPr id="6" name="Text Placeholder 5">
            <a:extLst>
              <a:ext uri="{FF2B5EF4-FFF2-40B4-BE49-F238E27FC236}">
                <a16:creationId xmlns:a16="http://schemas.microsoft.com/office/drawing/2014/main" id="{F3CCFC8A-0256-42C2-A3A7-09FD853D84AF}"/>
              </a:ext>
            </a:extLst>
          </p:cNvPr>
          <p:cNvSpPr>
            <a:spLocks noGrp="1"/>
          </p:cNvSpPr>
          <p:nvPr userDrawn="1">
            <p:ph type="body" sz="quarter" idx="42" hasCustomPrompt="1"/>
          </p:nvPr>
        </p:nvSpPr>
        <p:spPr>
          <a:xfrm>
            <a:off x="1158240" y="1709928"/>
            <a:ext cx="9875520" cy="304699"/>
          </a:xfrm>
        </p:spPr>
        <p:txBody>
          <a:bodyPr anchor="ctr" anchorCtr="0">
            <a:spAutoFit/>
          </a:bodyPr>
          <a:lstStyle>
            <a:lvl1pPr marL="0" indent="0" algn="ctr">
              <a:buFontTx/>
              <a:buNone/>
              <a:defRPr sz="2200"/>
            </a:lvl1pPr>
          </a:lstStyle>
          <a:p>
            <a:pPr lvl="0"/>
            <a:r>
              <a:rPr lang="en-US" dirty="0"/>
              <a:t>Call out blurb</a:t>
            </a:r>
          </a:p>
        </p:txBody>
      </p:sp>
    </p:spTree>
    <p:extLst>
      <p:ext uri="{BB962C8B-B14F-4D97-AF65-F5344CB8AC3E}">
        <p14:creationId xmlns:p14="http://schemas.microsoft.com/office/powerpoint/2010/main" val="1598868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cons w 5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D0DD1B2-3E44-448A-B29D-4BF5525EAF82}"/>
              </a:ext>
            </a:extLst>
          </p:cNvPr>
          <p:cNvGraphicFramePr>
            <a:graphicFrameLocks noChangeAspect="1"/>
          </p:cNvGraphicFramePr>
          <p:nvPr>
            <p:custDataLst>
              <p:tags r:id="rId1"/>
            </p:custDataLst>
            <p:extLst>
              <p:ext uri="{D42A27DB-BD31-4B8C-83A1-F6EECF244321}">
                <p14:modId xmlns:p14="http://schemas.microsoft.com/office/powerpoint/2010/main" val="42925443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a:extLst>
                          <a:ext uri="{FF2B5EF4-FFF2-40B4-BE49-F238E27FC236}">
                            <a16:creationId xmlns:a16="http://schemas.microsoft.com/office/drawing/2014/main" id="{CD0DD1B2-3E44-448A-B29D-4BF5525EAF8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3F8CDBA-3DC1-4B48-9D1F-EF614A8FDDB5}"/>
              </a:ext>
            </a:extLst>
          </p:cNvPr>
          <p:cNvSpPr/>
          <p:nvPr>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lnSpc>
                <a:spcPct val="90000"/>
              </a:lnSpc>
              <a:spcBef>
                <a:spcPts val="800"/>
              </a:spcBef>
            </a:pPr>
            <a:endParaRPr lang="en-US" sz="3200" b="0" i="0" baseline="0" dirty="0">
              <a:solidFill>
                <a:schemeClr val="bg1"/>
              </a:solidFill>
              <a:latin typeface="PTCRaleway" panose="020B0503030101060003" pitchFamily="34" charset="0"/>
              <a:ea typeface="+mj-ea"/>
              <a:cs typeface="+mj-cs"/>
              <a:sym typeface="Century Gothic" panose="020B0502020202020204" pitchFamily="34" charset="0"/>
            </a:endParaRPr>
          </a:p>
        </p:txBody>
      </p:sp>
      <p:sp>
        <p:nvSpPr>
          <p:cNvPr id="2" name="Title 1">
            <a:extLst>
              <a:ext uri="{FF2B5EF4-FFF2-40B4-BE49-F238E27FC236}">
                <a16:creationId xmlns:a16="http://schemas.microsoft.com/office/drawing/2014/main" id="{BF0272BA-DF00-4403-901D-E1E0848AA754}"/>
              </a:ext>
            </a:extLst>
          </p:cNvPr>
          <p:cNvSpPr>
            <a:spLocks noGrp="1"/>
          </p:cNvSpPr>
          <p:nvPr>
            <p:ph type="title" hasCustomPrompt="1"/>
          </p:nvPr>
        </p:nvSpPr>
        <p:spPr/>
        <p:txBody>
          <a:bodyPr/>
          <a:lstStyle/>
          <a:p>
            <a:r>
              <a:rPr lang="en-US" dirty="0"/>
              <a:t>add title – keep it brief</a:t>
            </a:r>
          </a:p>
        </p:txBody>
      </p:sp>
      <p:sp>
        <p:nvSpPr>
          <p:cNvPr id="52" name="Text Placeholder 32">
            <a:extLst>
              <a:ext uri="{FF2B5EF4-FFF2-40B4-BE49-F238E27FC236}">
                <a16:creationId xmlns:a16="http://schemas.microsoft.com/office/drawing/2014/main" id="{490C73DF-CFB4-4B5B-92C8-F90E3A62E77F}"/>
              </a:ext>
            </a:extLst>
          </p:cNvPr>
          <p:cNvSpPr>
            <a:spLocks noGrp="1"/>
          </p:cNvSpPr>
          <p:nvPr>
            <p:ph type="body" sz="quarter" idx="28" hasCustomPrompt="1"/>
          </p:nvPr>
        </p:nvSpPr>
        <p:spPr>
          <a:xfrm>
            <a:off x="498507" y="2864755"/>
            <a:ext cx="1600200" cy="209288"/>
          </a:xfrm>
        </p:spPr>
        <p:txBody>
          <a:bodyPr anchor="ctr" anchorCtr="0">
            <a:spAutoFit/>
          </a:bodyPr>
          <a:lstStyle>
            <a:lvl1pPr marL="0" indent="0" algn="ctr">
              <a:lnSpc>
                <a:spcPct val="85000"/>
              </a:lnSpc>
              <a:spcBef>
                <a:spcPts val="0"/>
              </a:spcBef>
              <a:buFontTx/>
              <a:buNone/>
              <a:defRPr sz="1600" b="1">
                <a:solidFill>
                  <a:schemeClr val="tx1"/>
                </a:solidFill>
              </a:defRPr>
            </a:lvl1pPr>
          </a:lstStyle>
          <a:p>
            <a:pPr lvl="0"/>
            <a:r>
              <a:rPr lang="en-US" dirty="0"/>
              <a:t>Add title</a:t>
            </a:r>
          </a:p>
        </p:txBody>
      </p:sp>
      <p:sp>
        <p:nvSpPr>
          <p:cNvPr id="53" name="Text Placeholder 34">
            <a:extLst>
              <a:ext uri="{FF2B5EF4-FFF2-40B4-BE49-F238E27FC236}">
                <a16:creationId xmlns:a16="http://schemas.microsoft.com/office/drawing/2014/main" id="{FE00311D-162D-450B-AAB4-212D530B9965}"/>
              </a:ext>
            </a:extLst>
          </p:cNvPr>
          <p:cNvSpPr>
            <a:spLocks noGrp="1"/>
          </p:cNvSpPr>
          <p:nvPr>
            <p:ph type="body" sz="quarter" idx="29" hasCustomPrompt="1"/>
          </p:nvPr>
        </p:nvSpPr>
        <p:spPr>
          <a:xfrm>
            <a:off x="498507" y="4784343"/>
            <a:ext cx="1600200" cy="553998"/>
          </a:xfrm>
        </p:spPr>
        <p:txBody>
          <a:bodyPr>
            <a:spAutoFit/>
          </a:bodyPr>
          <a:lstStyle>
            <a:lvl1pPr marL="285750" indent="-285750" algn="ctr">
              <a:spcBef>
                <a:spcPts val="600"/>
              </a:spcBef>
              <a:buFontTx/>
              <a:buNone/>
              <a:defRPr sz="1200"/>
            </a:lvl1pPr>
            <a:lvl2pPr marL="386674" indent="0" algn="ctr">
              <a:buFontTx/>
              <a:buNone/>
              <a:defRPr sz="1600"/>
            </a:lvl2pPr>
            <a:lvl3pPr marL="704088" indent="0" algn="ctr">
              <a:buFontTx/>
              <a:buNone/>
              <a:defRPr sz="1600"/>
            </a:lvl3pPr>
            <a:lvl4pPr marL="987552" indent="0" algn="ctr">
              <a:buFontTx/>
              <a:buNone/>
              <a:defRPr sz="1600"/>
            </a:lvl4pPr>
            <a:lvl5pPr marL="1261872" indent="0" algn="ctr">
              <a:buFontTx/>
              <a:buNone/>
              <a:defRPr sz="1600"/>
            </a:lvl5pPr>
          </a:lstStyle>
          <a:p>
            <a:pPr marL="0" marR="0" lvl="0" indent="0" algn="ctr" defTabSz="914400" fontAlgn="auto">
              <a:lnSpc>
                <a:spcPct val="100000"/>
              </a:lnSpc>
              <a:spcBef>
                <a:spcPts val="0"/>
              </a:spcBef>
              <a:spcAft>
                <a:spcPts val="0"/>
              </a:spcAft>
              <a:buClrTx/>
              <a:buSzTx/>
              <a:buFontTx/>
              <a:buNone/>
              <a:tabLst/>
            </a:pPr>
            <a:r>
              <a:rPr lang="en-US" dirty="0"/>
              <a:t>Add a short paragraph – not too long – or a bulleted list</a:t>
            </a:r>
          </a:p>
        </p:txBody>
      </p:sp>
      <p:sp>
        <p:nvSpPr>
          <p:cNvPr id="58" name="Text Placeholder 32">
            <a:extLst>
              <a:ext uri="{FF2B5EF4-FFF2-40B4-BE49-F238E27FC236}">
                <a16:creationId xmlns:a16="http://schemas.microsoft.com/office/drawing/2014/main" id="{9D12CB28-EBBA-4213-84C3-27EE8E1195B3}"/>
              </a:ext>
            </a:extLst>
          </p:cNvPr>
          <p:cNvSpPr>
            <a:spLocks noGrp="1"/>
          </p:cNvSpPr>
          <p:nvPr>
            <p:ph type="body" sz="quarter" idx="31" hasCustomPrompt="1"/>
          </p:nvPr>
        </p:nvSpPr>
        <p:spPr>
          <a:xfrm>
            <a:off x="2895408" y="2864755"/>
            <a:ext cx="1600200" cy="209288"/>
          </a:xfrm>
        </p:spPr>
        <p:txBody>
          <a:bodyPr anchor="ctr" anchorCtr="0">
            <a:spAutoFit/>
          </a:bodyPr>
          <a:lstStyle>
            <a:lvl1pPr marL="0" indent="0" algn="ctr">
              <a:lnSpc>
                <a:spcPct val="85000"/>
              </a:lnSpc>
              <a:spcBef>
                <a:spcPts val="0"/>
              </a:spcBef>
              <a:buFontTx/>
              <a:buNone/>
              <a:defRPr sz="1600" b="1">
                <a:solidFill>
                  <a:schemeClr val="tx1"/>
                </a:solidFill>
              </a:defRPr>
            </a:lvl1pPr>
          </a:lstStyle>
          <a:p>
            <a:pPr lvl="0"/>
            <a:r>
              <a:rPr lang="en-US" dirty="0"/>
              <a:t>Add title</a:t>
            </a:r>
          </a:p>
        </p:txBody>
      </p:sp>
      <p:sp>
        <p:nvSpPr>
          <p:cNvPr id="59" name="Text Placeholder 34">
            <a:extLst>
              <a:ext uri="{FF2B5EF4-FFF2-40B4-BE49-F238E27FC236}">
                <a16:creationId xmlns:a16="http://schemas.microsoft.com/office/drawing/2014/main" id="{A8089C8B-DB33-4F20-A90E-29D5706AC690}"/>
              </a:ext>
            </a:extLst>
          </p:cNvPr>
          <p:cNvSpPr>
            <a:spLocks noGrp="1"/>
          </p:cNvSpPr>
          <p:nvPr>
            <p:ph type="body" sz="quarter" idx="32" hasCustomPrompt="1"/>
          </p:nvPr>
        </p:nvSpPr>
        <p:spPr>
          <a:xfrm>
            <a:off x="2895408" y="4784343"/>
            <a:ext cx="1600200" cy="553998"/>
          </a:xfrm>
        </p:spPr>
        <p:txBody>
          <a:bodyPr>
            <a:spAutoFit/>
          </a:bodyPr>
          <a:lstStyle>
            <a:lvl1pPr marL="285750" indent="-285750" algn="ctr">
              <a:spcBef>
                <a:spcPts val="600"/>
              </a:spcBef>
              <a:buFontTx/>
              <a:buNone/>
              <a:defRPr sz="1200"/>
            </a:lvl1pPr>
            <a:lvl2pPr marL="386674" indent="0" algn="ctr">
              <a:buFontTx/>
              <a:buNone/>
              <a:defRPr sz="1600"/>
            </a:lvl2pPr>
            <a:lvl3pPr marL="704088" indent="0" algn="ctr">
              <a:buFontTx/>
              <a:buNone/>
              <a:defRPr sz="1600"/>
            </a:lvl3pPr>
            <a:lvl4pPr marL="987552" indent="0" algn="ctr">
              <a:buFontTx/>
              <a:buNone/>
              <a:defRPr sz="1600"/>
            </a:lvl4pPr>
            <a:lvl5pPr marL="1261872" indent="0" algn="ctr">
              <a:buFontTx/>
              <a:buNone/>
              <a:defRPr sz="1600"/>
            </a:lvl5pPr>
          </a:lstStyle>
          <a:p>
            <a:pPr marL="0" marR="0" lvl="0" indent="0" algn="ctr" defTabSz="914400" fontAlgn="auto">
              <a:lnSpc>
                <a:spcPct val="100000"/>
              </a:lnSpc>
              <a:spcBef>
                <a:spcPts val="0"/>
              </a:spcBef>
              <a:spcAft>
                <a:spcPts val="0"/>
              </a:spcAft>
              <a:buClrTx/>
              <a:buSzTx/>
              <a:buFontTx/>
              <a:buNone/>
              <a:tabLst/>
            </a:pPr>
            <a:r>
              <a:rPr lang="en-US" dirty="0"/>
              <a:t>Add a short paragraph – not too long – or a bulleted list</a:t>
            </a:r>
          </a:p>
        </p:txBody>
      </p:sp>
      <p:sp>
        <p:nvSpPr>
          <p:cNvPr id="61" name="Text Placeholder 32">
            <a:extLst>
              <a:ext uri="{FF2B5EF4-FFF2-40B4-BE49-F238E27FC236}">
                <a16:creationId xmlns:a16="http://schemas.microsoft.com/office/drawing/2014/main" id="{16964035-D680-41E2-BCE6-EDBF1662979F}"/>
              </a:ext>
            </a:extLst>
          </p:cNvPr>
          <p:cNvSpPr>
            <a:spLocks noGrp="1"/>
          </p:cNvSpPr>
          <p:nvPr>
            <p:ph type="body" sz="quarter" idx="34" hasCustomPrompt="1"/>
          </p:nvPr>
        </p:nvSpPr>
        <p:spPr>
          <a:xfrm>
            <a:off x="5292309" y="2864755"/>
            <a:ext cx="1600200" cy="209288"/>
          </a:xfrm>
        </p:spPr>
        <p:txBody>
          <a:bodyPr anchor="ctr" anchorCtr="0">
            <a:spAutoFit/>
          </a:bodyPr>
          <a:lstStyle>
            <a:lvl1pPr marL="0" indent="0" algn="ctr">
              <a:lnSpc>
                <a:spcPct val="85000"/>
              </a:lnSpc>
              <a:spcBef>
                <a:spcPts val="0"/>
              </a:spcBef>
              <a:buFontTx/>
              <a:buNone/>
              <a:defRPr sz="1600" b="1">
                <a:solidFill>
                  <a:schemeClr val="tx1"/>
                </a:solidFill>
              </a:defRPr>
            </a:lvl1pPr>
          </a:lstStyle>
          <a:p>
            <a:pPr lvl="0"/>
            <a:r>
              <a:rPr lang="en-US" dirty="0"/>
              <a:t>Add title</a:t>
            </a:r>
          </a:p>
        </p:txBody>
      </p:sp>
      <p:sp>
        <p:nvSpPr>
          <p:cNvPr id="62" name="Text Placeholder 34">
            <a:extLst>
              <a:ext uri="{FF2B5EF4-FFF2-40B4-BE49-F238E27FC236}">
                <a16:creationId xmlns:a16="http://schemas.microsoft.com/office/drawing/2014/main" id="{F7D72ACE-A6E3-49BA-B635-B4FF555C66B6}"/>
              </a:ext>
            </a:extLst>
          </p:cNvPr>
          <p:cNvSpPr>
            <a:spLocks noGrp="1"/>
          </p:cNvSpPr>
          <p:nvPr>
            <p:ph type="body" sz="quarter" idx="35" hasCustomPrompt="1"/>
          </p:nvPr>
        </p:nvSpPr>
        <p:spPr>
          <a:xfrm>
            <a:off x="5292309" y="4784343"/>
            <a:ext cx="1600200" cy="553998"/>
          </a:xfrm>
        </p:spPr>
        <p:txBody>
          <a:bodyPr>
            <a:spAutoFit/>
          </a:bodyPr>
          <a:lstStyle>
            <a:lvl1pPr marL="285750" indent="-285750" algn="ctr">
              <a:spcBef>
                <a:spcPts val="600"/>
              </a:spcBef>
              <a:buFontTx/>
              <a:buNone/>
              <a:defRPr sz="1200"/>
            </a:lvl1pPr>
            <a:lvl2pPr marL="386674" indent="0" algn="ctr">
              <a:buFontTx/>
              <a:buNone/>
              <a:defRPr sz="1600"/>
            </a:lvl2pPr>
            <a:lvl3pPr marL="704088" indent="0" algn="ctr">
              <a:buFontTx/>
              <a:buNone/>
              <a:defRPr sz="1600"/>
            </a:lvl3pPr>
            <a:lvl4pPr marL="987552" indent="0" algn="ctr">
              <a:buFontTx/>
              <a:buNone/>
              <a:defRPr sz="1600"/>
            </a:lvl4pPr>
            <a:lvl5pPr marL="1261872" indent="0" algn="ctr">
              <a:buFontTx/>
              <a:buNone/>
              <a:defRPr sz="1600"/>
            </a:lvl5pPr>
          </a:lstStyle>
          <a:p>
            <a:pPr marL="0" marR="0" lvl="0" indent="0" algn="ctr" defTabSz="914400" fontAlgn="auto">
              <a:lnSpc>
                <a:spcPct val="100000"/>
              </a:lnSpc>
              <a:spcBef>
                <a:spcPts val="0"/>
              </a:spcBef>
              <a:spcAft>
                <a:spcPts val="0"/>
              </a:spcAft>
              <a:buClrTx/>
              <a:buSzTx/>
              <a:buFontTx/>
              <a:buNone/>
              <a:tabLst/>
            </a:pPr>
            <a:r>
              <a:rPr lang="en-US" dirty="0"/>
              <a:t>Add a short paragraph – not too long – or a bulleted list</a:t>
            </a:r>
          </a:p>
        </p:txBody>
      </p:sp>
      <p:sp>
        <p:nvSpPr>
          <p:cNvPr id="64" name="Text Placeholder 32">
            <a:extLst>
              <a:ext uri="{FF2B5EF4-FFF2-40B4-BE49-F238E27FC236}">
                <a16:creationId xmlns:a16="http://schemas.microsoft.com/office/drawing/2014/main" id="{41F1B747-4A09-4131-B94D-7B72FE0ADA1F}"/>
              </a:ext>
            </a:extLst>
          </p:cNvPr>
          <p:cNvSpPr>
            <a:spLocks noGrp="1"/>
          </p:cNvSpPr>
          <p:nvPr>
            <p:ph type="body" sz="quarter" idx="37" hasCustomPrompt="1"/>
          </p:nvPr>
        </p:nvSpPr>
        <p:spPr>
          <a:xfrm>
            <a:off x="7689210" y="2864755"/>
            <a:ext cx="1600200" cy="209288"/>
          </a:xfrm>
        </p:spPr>
        <p:txBody>
          <a:bodyPr anchor="ctr" anchorCtr="0">
            <a:spAutoFit/>
          </a:bodyPr>
          <a:lstStyle>
            <a:lvl1pPr marL="0" indent="0" algn="ctr">
              <a:lnSpc>
                <a:spcPct val="85000"/>
              </a:lnSpc>
              <a:spcBef>
                <a:spcPts val="0"/>
              </a:spcBef>
              <a:buFontTx/>
              <a:buNone/>
              <a:defRPr sz="1600" b="1">
                <a:solidFill>
                  <a:schemeClr val="tx1"/>
                </a:solidFill>
              </a:defRPr>
            </a:lvl1pPr>
          </a:lstStyle>
          <a:p>
            <a:pPr lvl="0"/>
            <a:r>
              <a:rPr lang="en-US" dirty="0"/>
              <a:t>Add title</a:t>
            </a:r>
          </a:p>
        </p:txBody>
      </p:sp>
      <p:sp>
        <p:nvSpPr>
          <p:cNvPr id="65" name="Text Placeholder 34">
            <a:extLst>
              <a:ext uri="{FF2B5EF4-FFF2-40B4-BE49-F238E27FC236}">
                <a16:creationId xmlns:a16="http://schemas.microsoft.com/office/drawing/2014/main" id="{4B4EBABA-E6CB-464F-9FBA-E5F9B03A37E8}"/>
              </a:ext>
            </a:extLst>
          </p:cNvPr>
          <p:cNvSpPr>
            <a:spLocks noGrp="1"/>
          </p:cNvSpPr>
          <p:nvPr>
            <p:ph type="body" sz="quarter" idx="38" hasCustomPrompt="1"/>
          </p:nvPr>
        </p:nvSpPr>
        <p:spPr>
          <a:xfrm>
            <a:off x="7689210" y="4784343"/>
            <a:ext cx="1600200" cy="553998"/>
          </a:xfrm>
        </p:spPr>
        <p:txBody>
          <a:bodyPr>
            <a:spAutoFit/>
          </a:bodyPr>
          <a:lstStyle>
            <a:lvl1pPr marL="285750" indent="-285750" algn="ctr">
              <a:spcBef>
                <a:spcPts val="600"/>
              </a:spcBef>
              <a:buFontTx/>
              <a:buNone/>
              <a:defRPr sz="1200"/>
            </a:lvl1pPr>
            <a:lvl2pPr marL="386674" indent="0" algn="ctr">
              <a:buFontTx/>
              <a:buNone/>
              <a:defRPr sz="1600"/>
            </a:lvl2pPr>
            <a:lvl3pPr marL="704088" indent="0" algn="ctr">
              <a:buFontTx/>
              <a:buNone/>
              <a:defRPr sz="1600"/>
            </a:lvl3pPr>
            <a:lvl4pPr marL="987552" indent="0" algn="ctr">
              <a:buFontTx/>
              <a:buNone/>
              <a:defRPr sz="1600"/>
            </a:lvl4pPr>
            <a:lvl5pPr marL="1261872" indent="0" algn="ctr">
              <a:buFontTx/>
              <a:buNone/>
              <a:defRPr sz="1600"/>
            </a:lvl5pPr>
          </a:lstStyle>
          <a:p>
            <a:pPr marL="0" marR="0" lvl="0" indent="0" algn="ctr" defTabSz="914400" fontAlgn="auto">
              <a:lnSpc>
                <a:spcPct val="100000"/>
              </a:lnSpc>
              <a:spcBef>
                <a:spcPts val="0"/>
              </a:spcBef>
              <a:spcAft>
                <a:spcPts val="0"/>
              </a:spcAft>
              <a:buClrTx/>
              <a:buSzTx/>
              <a:buFontTx/>
              <a:buNone/>
              <a:tabLst/>
            </a:pPr>
            <a:r>
              <a:rPr lang="en-US" dirty="0"/>
              <a:t>Add a short paragraph – not too long – or a bulleted list</a:t>
            </a:r>
          </a:p>
        </p:txBody>
      </p:sp>
      <p:sp>
        <p:nvSpPr>
          <p:cNvPr id="25" name="Picture Placeholder 6">
            <a:extLst>
              <a:ext uri="{FF2B5EF4-FFF2-40B4-BE49-F238E27FC236}">
                <a16:creationId xmlns:a16="http://schemas.microsoft.com/office/drawing/2014/main" id="{1AEB5892-C8FD-4265-8F93-69E01BC959CC}"/>
              </a:ext>
            </a:extLst>
          </p:cNvPr>
          <p:cNvSpPr>
            <a:spLocks noGrp="1"/>
          </p:cNvSpPr>
          <p:nvPr>
            <p:ph type="pic" sz="quarter" idx="39" hasCustomPrompt="1"/>
          </p:nvPr>
        </p:nvSpPr>
        <p:spPr>
          <a:xfrm>
            <a:off x="990899" y="3730183"/>
            <a:ext cx="615416" cy="365760"/>
          </a:xfrm>
        </p:spPr>
        <p:txBody>
          <a:bodyPr/>
          <a:lstStyle>
            <a:lvl1pPr marL="0" indent="0" algn="ctr">
              <a:buFontTx/>
              <a:buNone/>
              <a:defRPr sz="800" b="1">
                <a:solidFill>
                  <a:schemeClr val="accent5"/>
                </a:solidFill>
              </a:defRPr>
            </a:lvl1pPr>
          </a:lstStyle>
          <a:p>
            <a:r>
              <a:rPr lang="en-US" dirty="0"/>
              <a:t>Paste icon from PTC PPT Library</a:t>
            </a:r>
          </a:p>
        </p:txBody>
      </p:sp>
      <p:sp>
        <p:nvSpPr>
          <p:cNvPr id="26" name="Picture Placeholder 6">
            <a:extLst>
              <a:ext uri="{FF2B5EF4-FFF2-40B4-BE49-F238E27FC236}">
                <a16:creationId xmlns:a16="http://schemas.microsoft.com/office/drawing/2014/main" id="{FA7A40C7-5620-4D59-8DE5-CA304D9A962A}"/>
              </a:ext>
            </a:extLst>
          </p:cNvPr>
          <p:cNvSpPr>
            <a:spLocks noGrp="1"/>
          </p:cNvSpPr>
          <p:nvPr>
            <p:ph type="pic" sz="quarter" idx="40" hasCustomPrompt="1"/>
          </p:nvPr>
        </p:nvSpPr>
        <p:spPr>
          <a:xfrm>
            <a:off x="3387800" y="3730183"/>
            <a:ext cx="615416" cy="365760"/>
          </a:xfrm>
        </p:spPr>
        <p:txBody>
          <a:bodyPr/>
          <a:lstStyle>
            <a:lvl1pPr marL="0" indent="0" algn="ctr">
              <a:buFontTx/>
              <a:buNone/>
              <a:defRPr sz="800" b="1">
                <a:solidFill>
                  <a:schemeClr val="accent5"/>
                </a:solidFill>
              </a:defRPr>
            </a:lvl1pPr>
          </a:lstStyle>
          <a:p>
            <a:r>
              <a:rPr lang="en-US" dirty="0"/>
              <a:t>Paste icon from PTC PPT Library</a:t>
            </a:r>
          </a:p>
        </p:txBody>
      </p:sp>
      <p:sp>
        <p:nvSpPr>
          <p:cNvPr id="27" name="Picture Placeholder 6">
            <a:extLst>
              <a:ext uri="{FF2B5EF4-FFF2-40B4-BE49-F238E27FC236}">
                <a16:creationId xmlns:a16="http://schemas.microsoft.com/office/drawing/2014/main" id="{4F6992F5-14F1-443B-A56F-0DAFD3A17D10}"/>
              </a:ext>
            </a:extLst>
          </p:cNvPr>
          <p:cNvSpPr>
            <a:spLocks noGrp="1"/>
          </p:cNvSpPr>
          <p:nvPr>
            <p:ph type="pic" sz="quarter" idx="36" hasCustomPrompt="1"/>
          </p:nvPr>
        </p:nvSpPr>
        <p:spPr>
          <a:xfrm>
            <a:off x="8181602" y="3730183"/>
            <a:ext cx="615416" cy="365760"/>
          </a:xfrm>
        </p:spPr>
        <p:txBody>
          <a:bodyPr/>
          <a:lstStyle>
            <a:lvl1pPr marL="0" indent="0" algn="ctr">
              <a:buFontTx/>
              <a:buNone/>
              <a:defRPr sz="800" b="1">
                <a:solidFill>
                  <a:schemeClr val="accent5"/>
                </a:solidFill>
              </a:defRPr>
            </a:lvl1pPr>
          </a:lstStyle>
          <a:p>
            <a:r>
              <a:rPr lang="en-US" dirty="0"/>
              <a:t>Paste icon from PTC PPT Library</a:t>
            </a:r>
          </a:p>
        </p:txBody>
      </p:sp>
      <p:sp>
        <p:nvSpPr>
          <p:cNvPr id="28" name="Picture Placeholder 6">
            <a:extLst>
              <a:ext uri="{FF2B5EF4-FFF2-40B4-BE49-F238E27FC236}">
                <a16:creationId xmlns:a16="http://schemas.microsoft.com/office/drawing/2014/main" id="{475F2538-CC6F-47C5-8E22-46B3CA1900DD}"/>
              </a:ext>
            </a:extLst>
          </p:cNvPr>
          <p:cNvSpPr>
            <a:spLocks noGrp="1"/>
          </p:cNvSpPr>
          <p:nvPr>
            <p:ph type="pic" sz="quarter" idx="41" hasCustomPrompt="1"/>
          </p:nvPr>
        </p:nvSpPr>
        <p:spPr>
          <a:xfrm>
            <a:off x="5784701" y="3730183"/>
            <a:ext cx="615416" cy="365760"/>
          </a:xfrm>
        </p:spPr>
        <p:txBody>
          <a:bodyPr/>
          <a:lstStyle>
            <a:lvl1pPr marL="0" indent="0" algn="ctr">
              <a:buFontTx/>
              <a:buNone/>
              <a:defRPr sz="800" b="1">
                <a:solidFill>
                  <a:schemeClr val="accent5"/>
                </a:solidFill>
              </a:defRPr>
            </a:lvl1pPr>
          </a:lstStyle>
          <a:p>
            <a:r>
              <a:rPr lang="en-US" dirty="0"/>
              <a:t>Paste icon from PTC PPT Library</a:t>
            </a:r>
          </a:p>
        </p:txBody>
      </p:sp>
      <p:sp>
        <p:nvSpPr>
          <p:cNvPr id="6" name="Text Placeholder 5">
            <a:extLst>
              <a:ext uri="{FF2B5EF4-FFF2-40B4-BE49-F238E27FC236}">
                <a16:creationId xmlns:a16="http://schemas.microsoft.com/office/drawing/2014/main" id="{F3CCFC8A-0256-42C2-A3A7-09FD853D84AF}"/>
              </a:ext>
            </a:extLst>
          </p:cNvPr>
          <p:cNvSpPr>
            <a:spLocks noGrp="1"/>
          </p:cNvSpPr>
          <p:nvPr userDrawn="1">
            <p:ph type="body" sz="quarter" idx="42" hasCustomPrompt="1"/>
          </p:nvPr>
        </p:nvSpPr>
        <p:spPr>
          <a:xfrm>
            <a:off x="1158240" y="1709928"/>
            <a:ext cx="9875520" cy="304699"/>
          </a:xfrm>
        </p:spPr>
        <p:txBody>
          <a:bodyPr anchor="ctr" anchorCtr="0">
            <a:spAutoFit/>
          </a:bodyPr>
          <a:lstStyle>
            <a:lvl1pPr marL="0" indent="0" algn="ctr">
              <a:buFontTx/>
              <a:buNone/>
              <a:defRPr sz="2200"/>
            </a:lvl1pPr>
          </a:lstStyle>
          <a:p>
            <a:pPr lvl="0"/>
            <a:r>
              <a:rPr lang="en-US" dirty="0"/>
              <a:t>Call out blurb</a:t>
            </a:r>
          </a:p>
        </p:txBody>
      </p:sp>
      <p:sp>
        <p:nvSpPr>
          <p:cNvPr id="20" name="Picture Placeholder 6">
            <a:extLst>
              <a:ext uri="{FF2B5EF4-FFF2-40B4-BE49-F238E27FC236}">
                <a16:creationId xmlns:a16="http://schemas.microsoft.com/office/drawing/2014/main" id="{A443D19A-1751-43D6-A160-5296A53060FE}"/>
              </a:ext>
            </a:extLst>
          </p:cNvPr>
          <p:cNvSpPr>
            <a:spLocks noGrp="1"/>
          </p:cNvSpPr>
          <p:nvPr>
            <p:ph type="pic" sz="quarter" idx="43" hasCustomPrompt="1"/>
          </p:nvPr>
        </p:nvSpPr>
        <p:spPr>
          <a:xfrm>
            <a:off x="10578504" y="3730183"/>
            <a:ext cx="615416" cy="365760"/>
          </a:xfrm>
        </p:spPr>
        <p:txBody>
          <a:bodyPr/>
          <a:lstStyle>
            <a:lvl1pPr marL="0" indent="0" algn="ctr">
              <a:buFontTx/>
              <a:buNone/>
              <a:defRPr sz="800" b="1">
                <a:solidFill>
                  <a:schemeClr val="accent5"/>
                </a:solidFill>
              </a:defRPr>
            </a:lvl1pPr>
          </a:lstStyle>
          <a:p>
            <a:r>
              <a:rPr lang="en-US" dirty="0"/>
              <a:t>Paste icon from PTC PPT Library</a:t>
            </a:r>
          </a:p>
        </p:txBody>
      </p:sp>
      <p:sp>
        <p:nvSpPr>
          <p:cNvPr id="9" name="Text Placeholder 8">
            <a:extLst>
              <a:ext uri="{FF2B5EF4-FFF2-40B4-BE49-F238E27FC236}">
                <a16:creationId xmlns:a16="http://schemas.microsoft.com/office/drawing/2014/main" id="{47D8C84A-E732-4EA8-8388-80FC2F2F6015}"/>
              </a:ext>
            </a:extLst>
          </p:cNvPr>
          <p:cNvSpPr>
            <a:spLocks noGrp="1"/>
          </p:cNvSpPr>
          <p:nvPr>
            <p:ph type="body" sz="quarter" idx="44" hasCustomPrompt="1"/>
          </p:nvPr>
        </p:nvSpPr>
        <p:spPr>
          <a:xfrm>
            <a:off x="10086112" y="2864755"/>
            <a:ext cx="1600200" cy="221599"/>
          </a:xfrm>
        </p:spPr>
        <p:txBody>
          <a:bodyPr vert="horz" lIns="0" tIns="0" rIns="0" bIns="0" rtlCol="0" anchor="ctr" anchorCtr="0">
            <a:spAutoFit/>
          </a:bodyPr>
          <a:lstStyle>
            <a:lvl1pPr marL="0" indent="0" algn="ctr">
              <a:buFontTx/>
              <a:buNone/>
              <a:defRPr lang="en-US" sz="1600" b="1" smtClean="0"/>
            </a:lvl1pPr>
            <a:lvl2pPr>
              <a:defRPr lang="en-US" smtClean="0"/>
            </a:lvl2pPr>
            <a:lvl3pPr>
              <a:defRPr lang="en-US" smtClean="0"/>
            </a:lvl3pPr>
            <a:lvl4pPr>
              <a:defRPr lang="en-US" smtClean="0"/>
            </a:lvl4pPr>
            <a:lvl5pPr>
              <a:defRPr lang="en-US"/>
            </a:lvl5pPr>
          </a:lstStyle>
          <a:p>
            <a:pPr lvl="0"/>
            <a:r>
              <a:rPr lang="en-US" dirty="0"/>
              <a:t>Add title</a:t>
            </a:r>
          </a:p>
        </p:txBody>
      </p:sp>
      <p:sp>
        <p:nvSpPr>
          <p:cNvPr id="13" name="Text Placeholder 12">
            <a:extLst>
              <a:ext uri="{FF2B5EF4-FFF2-40B4-BE49-F238E27FC236}">
                <a16:creationId xmlns:a16="http://schemas.microsoft.com/office/drawing/2014/main" id="{A73FB3A0-2394-412A-B5B0-D0E4A63CD9B0}"/>
              </a:ext>
            </a:extLst>
          </p:cNvPr>
          <p:cNvSpPr>
            <a:spLocks noGrp="1"/>
          </p:cNvSpPr>
          <p:nvPr>
            <p:ph type="body" sz="quarter" idx="45" hasCustomPrompt="1"/>
          </p:nvPr>
        </p:nvSpPr>
        <p:spPr>
          <a:xfrm>
            <a:off x="10086112" y="4784343"/>
            <a:ext cx="1600200" cy="557784"/>
          </a:xfrm>
        </p:spPr>
        <p:txBody>
          <a:bodyPr>
            <a:spAutoFit/>
          </a:bodyPr>
          <a:lstStyle>
            <a:lvl1pPr marL="0" indent="0" algn="ctr">
              <a:lnSpc>
                <a:spcPct val="100000"/>
              </a:lnSpc>
              <a:buNone/>
              <a:defRPr sz="1200"/>
            </a:lvl1pPr>
          </a:lstStyle>
          <a:p>
            <a:pPr lvl="0"/>
            <a:r>
              <a:rPr lang="en-US" dirty="0"/>
              <a:t>Add a short paragraph – not too long – or a bulleted list</a:t>
            </a:r>
          </a:p>
        </p:txBody>
      </p:sp>
    </p:spTree>
    <p:extLst>
      <p:ext uri="{BB962C8B-B14F-4D97-AF65-F5344CB8AC3E}">
        <p14:creationId xmlns:p14="http://schemas.microsoft.com/office/powerpoint/2010/main" val="2251642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mp; Video">
    <p:spTree>
      <p:nvGrpSpPr>
        <p:cNvPr id="1" name=""/>
        <p:cNvGrpSpPr/>
        <p:nvPr/>
      </p:nvGrpSpPr>
      <p:grpSpPr>
        <a:xfrm>
          <a:off x="0" y="0"/>
          <a:ext cx="0" cy="0"/>
          <a:chOff x="0" y="0"/>
          <a:chExt cx="0" cy="0"/>
        </a:xfrm>
      </p:grpSpPr>
      <p:sp>
        <p:nvSpPr>
          <p:cNvPr id="6" name="Media Placeholder 5">
            <a:extLst>
              <a:ext uri="{FF2B5EF4-FFF2-40B4-BE49-F238E27FC236}">
                <a16:creationId xmlns:a16="http://schemas.microsoft.com/office/drawing/2014/main" id="{5B05F195-396D-4D83-8F33-F626D282E766}"/>
              </a:ext>
            </a:extLst>
          </p:cNvPr>
          <p:cNvSpPr>
            <a:spLocks noGrp="1"/>
          </p:cNvSpPr>
          <p:nvPr>
            <p:ph type="media" sz="quarter" idx="10" hasCustomPrompt="1"/>
          </p:nvPr>
        </p:nvSpPr>
        <p:spPr>
          <a:xfrm>
            <a:off x="1731513" y="1439765"/>
            <a:ext cx="8728974" cy="4922935"/>
          </a:xfrm>
          <a:ln>
            <a:solidFill>
              <a:schemeClr val="bg2"/>
            </a:solidFill>
          </a:ln>
        </p:spPr>
        <p:txBody>
          <a:bodyPr vert="horz" lIns="0" tIns="0" rIns="0" bIns="731520" rtlCol="0" anchor="ctr" anchorCtr="0">
            <a:noAutofit/>
          </a:bodyPr>
          <a:lstStyle>
            <a:lvl1pPr marL="0" indent="0" algn="ctr">
              <a:buFontTx/>
              <a:buNone/>
              <a:defRPr lang="en-US">
                <a:solidFill>
                  <a:schemeClr val="accent5"/>
                </a:solidFill>
              </a:defRPr>
            </a:lvl1pPr>
          </a:lstStyle>
          <a:p>
            <a:r>
              <a:rPr lang="en-US" dirty="0"/>
              <a:t>Click media icon to add video</a:t>
            </a:r>
          </a:p>
        </p:txBody>
      </p:sp>
      <p:sp>
        <p:nvSpPr>
          <p:cNvPr id="3" name="Title 2">
            <a:extLst>
              <a:ext uri="{FF2B5EF4-FFF2-40B4-BE49-F238E27FC236}">
                <a16:creationId xmlns:a16="http://schemas.microsoft.com/office/drawing/2014/main" id="{DBEAE63A-39ED-4825-AFB2-206AF22C5598}"/>
              </a:ext>
            </a:extLst>
          </p:cNvPr>
          <p:cNvSpPr>
            <a:spLocks noGrp="1"/>
          </p:cNvSpPr>
          <p:nvPr>
            <p:ph type="title" hasCustomPrompt="1"/>
          </p:nvPr>
        </p:nvSpPr>
        <p:spPr/>
        <p:txBody>
          <a:bodyPr/>
          <a:lstStyle>
            <a:lvl1pPr>
              <a:defRPr/>
            </a:lvl1pPr>
          </a:lstStyle>
          <a:p>
            <a:r>
              <a:rPr lang="en-US" dirty="0"/>
              <a:t>add title – keep it brief</a:t>
            </a:r>
          </a:p>
        </p:txBody>
      </p:sp>
    </p:spTree>
    <p:extLst>
      <p:ext uri="{BB962C8B-B14F-4D97-AF65-F5344CB8AC3E}">
        <p14:creationId xmlns:p14="http://schemas.microsoft.com/office/powerpoint/2010/main" val="1168966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and Content No Footer">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90760" y="1713755"/>
            <a:ext cx="10789920" cy="4482201"/>
          </a:xfrm>
        </p:spPr>
        <p:txBody>
          <a:bodyPr vert="horz" lIns="0" tIns="0" rIns="0" bIns="0" rtlCol="0">
            <a:noAutofit/>
          </a:bodyPr>
          <a:lstStyle>
            <a:lvl1pPr>
              <a:defRPr lang="en-US" noProof="0" dirty="0" smtClean="0"/>
            </a:lvl1pPr>
            <a:lvl2pPr>
              <a:defRPr lang="en-US" noProof="0" dirty="0" smtClean="0"/>
            </a:lvl2pPr>
            <a:lvl3pPr>
              <a:defRPr lang="en-US" noProof="0" dirty="0" smtClean="0"/>
            </a:lvl3pPr>
            <a:lvl4pPr>
              <a:defRPr lang="en-US" noProof="0" dirty="0" smtClean="0"/>
            </a:lvl4pPr>
            <a:lvl5pPr>
              <a:defRPr lang="en-US" noProof="0" dirty="0"/>
            </a:lvl5pPr>
          </a:lstStyle>
          <a:p>
            <a:pPr lvl="0"/>
            <a:r>
              <a:rPr kumimoji="0" lang="en-US" sz="2400" b="0" i="0" u="none" strike="noStrike" kern="1200" cap="none" spc="0" normalizeH="0" baseline="0" noProof="0" dirty="0">
                <a:ln>
                  <a:noFill/>
                </a:ln>
                <a:solidFill>
                  <a:srgbClr val="3D4647"/>
                </a:solidFill>
                <a:effectLst/>
                <a:uLnTx/>
                <a:uFillTx/>
                <a:latin typeface="PTCRaleway"/>
                <a:ea typeface="+mn-ea"/>
                <a:cs typeface="+mn-cs"/>
              </a:rPr>
              <a:t>Add text</a:t>
            </a:r>
          </a:p>
          <a:p>
            <a:pPr lvl="1"/>
            <a:r>
              <a:rPr kumimoji="0" lang="en-US" sz="2000" b="0" i="0" u="none" strike="noStrike" kern="1200" cap="none" spc="0" normalizeH="0" baseline="0" noProof="0" dirty="0">
                <a:ln>
                  <a:noFill/>
                </a:ln>
                <a:solidFill>
                  <a:srgbClr val="3D4647"/>
                </a:solidFill>
                <a:effectLst/>
                <a:uLnTx/>
                <a:uFillTx/>
                <a:latin typeface="PTCRaleway"/>
                <a:ea typeface="+mn-ea"/>
                <a:cs typeface="+mn-cs"/>
              </a:rPr>
              <a:t>Second level</a:t>
            </a:r>
          </a:p>
          <a:p>
            <a:pPr lvl="2"/>
            <a:r>
              <a:rPr kumimoji="0" lang="en-US" sz="1800" b="0" i="0" u="none" strike="noStrike" kern="1200" cap="none" spc="0" normalizeH="0" baseline="0" noProof="0" dirty="0">
                <a:ln>
                  <a:noFill/>
                </a:ln>
                <a:solidFill>
                  <a:srgbClr val="3D4647"/>
                </a:solidFill>
                <a:effectLst/>
                <a:uLnTx/>
                <a:uFillTx/>
                <a:latin typeface="PTCRaleway"/>
                <a:ea typeface="+mn-ea"/>
                <a:cs typeface="+mn-cs"/>
              </a:rPr>
              <a:t>Third level</a:t>
            </a:r>
          </a:p>
          <a:p>
            <a:pPr lvl="3"/>
            <a:r>
              <a:rPr kumimoji="0" lang="en-US" sz="1600" b="0" i="0" u="none" strike="noStrike" kern="1200" cap="none" spc="0" normalizeH="0" baseline="0" noProof="0" dirty="0">
                <a:ln>
                  <a:noFill/>
                </a:ln>
                <a:solidFill>
                  <a:srgbClr val="3D4647"/>
                </a:solidFill>
                <a:effectLst/>
                <a:uLnTx/>
                <a:uFillTx/>
                <a:latin typeface="PTCRaleway"/>
                <a:ea typeface="+mn-ea"/>
                <a:cs typeface="+mn-cs"/>
              </a:rPr>
              <a:t>Fourth level</a:t>
            </a:r>
          </a:p>
          <a:p>
            <a:pPr lvl="4"/>
            <a:r>
              <a:rPr kumimoji="0" lang="en-US" sz="1400" b="0" i="0" u="none" strike="noStrike" kern="1200" cap="none" spc="0" normalizeH="0" baseline="0" noProof="0" dirty="0">
                <a:ln>
                  <a:noFill/>
                </a:ln>
                <a:solidFill>
                  <a:srgbClr val="3D4647"/>
                </a:solidFill>
                <a:effectLst/>
                <a:uLnTx/>
                <a:uFillTx/>
                <a:latin typeface="PTCRaleway"/>
                <a:ea typeface="+mn-ea"/>
                <a:cs typeface="+mn-cs"/>
              </a:rPr>
              <a:t>Fifth level</a:t>
            </a:r>
          </a:p>
        </p:txBody>
      </p:sp>
      <p:sp>
        <p:nvSpPr>
          <p:cNvPr id="4" name="Title 3">
            <a:extLst>
              <a:ext uri="{FF2B5EF4-FFF2-40B4-BE49-F238E27FC236}">
                <a16:creationId xmlns:a16="http://schemas.microsoft.com/office/drawing/2014/main" id="{C14A7928-2068-42B4-AB1B-DA77806D13C2}"/>
              </a:ext>
            </a:extLst>
          </p:cNvPr>
          <p:cNvSpPr>
            <a:spLocks noGrp="1"/>
          </p:cNvSpPr>
          <p:nvPr>
            <p:ph type="title" hasCustomPrompt="1"/>
          </p:nvPr>
        </p:nvSpPr>
        <p:spPr>
          <a:xfrm>
            <a:off x="490760" y="678174"/>
            <a:ext cx="10789920" cy="369332"/>
          </a:xfrm>
        </p:spPr>
        <p:txBody>
          <a:bodyPr/>
          <a:lstStyle>
            <a:lvl1pPr>
              <a:defRPr/>
            </a:lvl1pPr>
          </a:lstStyle>
          <a:p>
            <a:r>
              <a:rPr lang="en-US" dirty="0"/>
              <a:t>add title – keep it brief</a:t>
            </a:r>
          </a:p>
        </p:txBody>
      </p:sp>
      <p:sp>
        <p:nvSpPr>
          <p:cNvPr id="5" name="Freeform: Shape 4">
            <a:extLst>
              <a:ext uri="{FF2B5EF4-FFF2-40B4-BE49-F238E27FC236}">
                <a16:creationId xmlns:a16="http://schemas.microsoft.com/office/drawing/2014/main" id="{5DD20BEA-D0C6-499E-90FB-BB7F1A830939}"/>
              </a:ext>
            </a:extLst>
          </p:cNvPr>
          <p:cNvSpPr/>
          <p:nvPr userDrawn="1"/>
        </p:nvSpPr>
        <p:spPr>
          <a:xfrm>
            <a:off x="3048" y="6624536"/>
            <a:ext cx="12188952" cy="233465"/>
          </a:xfrm>
          <a:custGeom>
            <a:avLst/>
            <a:gdLst>
              <a:gd name="connsiteX0" fmla="*/ 8949770 w 12188952"/>
              <a:gd name="connsiteY0" fmla="*/ 0 h 233465"/>
              <a:gd name="connsiteX1" fmla="*/ 12188952 w 12188952"/>
              <a:gd name="connsiteY1" fmla="*/ 0 h 233465"/>
              <a:gd name="connsiteX2" fmla="*/ 12188952 w 12188952"/>
              <a:gd name="connsiteY2" fmla="*/ 114871 h 233465"/>
              <a:gd name="connsiteX3" fmla="*/ 12188952 w 12188952"/>
              <a:gd name="connsiteY3" fmla="*/ 169441 h 233465"/>
              <a:gd name="connsiteX4" fmla="*/ 12188952 w 12188952"/>
              <a:gd name="connsiteY4" fmla="*/ 233465 h 233465"/>
              <a:gd name="connsiteX5" fmla="*/ 9027859 w 12188952"/>
              <a:gd name="connsiteY5" fmla="*/ 233465 h 233465"/>
              <a:gd name="connsiteX6" fmla="*/ 1048596 w 12188952"/>
              <a:gd name="connsiteY6" fmla="*/ 233465 h 233465"/>
              <a:gd name="connsiteX7" fmla="*/ 33436 w 12188952"/>
              <a:gd name="connsiteY7" fmla="*/ 233465 h 233465"/>
              <a:gd name="connsiteX8" fmla="*/ 0 w 12188952"/>
              <a:gd name="connsiteY8" fmla="*/ 233465 h 233465"/>
              <a:gd name="connsiteX9" fmla="*/ 0 w 12188952"/>
              <a:gd name="connsiteY9" fmla="*/ 169375 h 233465"/>
              <a:gd name="connsiteX10" fmla="*/ 0 w 12188952"/>
              <a:gd name="connsiteY10" fmla="*/ 126232 h 233465"/>
              <a:gd name="connsiteX11" fmla="*/ 0 w 12188952"/>
              <a:gd name="connsiteY11" fmla="*/ 109891 h 233465"/>
              <a:gd name="connsiteX12" fmla="*/ 8695556 w 12188952"/>
              <a:gd name="connsiteY12" fmla="*/ 109891 h 233465"/>
              <a:gd name="connsiteX13" fmla="*/ 8949770 w 12188952"/>
              <a:gd name="connsiteY13" fmla="*/ 0 h 233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8952" h="233465">
                <a:moveTo>
                  <a:pt x="8949770" y="0"/>
                </a:moveTo>
                <a:lnTo>
                  <a:pt x="12188952" y="0"/>
                </a:lnTo>
                <a:lnTo>
                  <a:pt x="12188952" y="114871"/>
                </a:lnTo>
                <a:lnTo>
                  <a:pt x="12188952" y="169441"/>
                </a:lnTo>
                <a:lnTo>
                  <a:pt x="12188952" y="233465"/>
                </a:lnTo>
                <a:lnTo>
                  <a:pt x="9027859" y="233465"/>
                </a:lnTo>
                <a:lnTo>
                  <a:pt x="1048596" y="233465"/>
                </a:lnTo>
                <a:lnTo>
                  <a:pt x="33436" y="233465"/>
                </a:lnTo>
                <a:lnTo>
                  <a:pt x="0" y="233465"/>
                </a:lnTo>
                <a:lnTo>
                  <a:pt x="0" y="169375"/>
                </a:lnTo>
                <a:lnTo>
                  <a:pt x="0" y="126232"/>
                </a:lnTo>
                <a:lnTo>
                  <a:pt x="0" y="109891"/>
                </a:lnTo>
                <a:lnTo>
                  <a:pt x="8695556" y="109891"/>
                </a:lnTo>
                <a:lnTo>
                  <a:pt x="894977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
        <p:nvSpPr>
          <p:cNvPr id="6" name="Rectangle 6">
            <a:extLst>
              <a:ext uri="{FF2B5EF4-FFF2-40B4-BE49-F238E27FC236}">
                <a16:creationId xmlns:a16="http://schemas.microsoft.com/office/drawing/2014/main" id="{3308AE26-46AF-4149-9BE1-42749E3648BD}"/>
              </a:ext>
            </a:extLst>
          </p:cNvPr>
          <p:cNvSpPr txBox="1">
            <a:spLocks noChangeArrowheads="1"/>
          </p:cNvSpPr>
          <p:nvPr userDrawn="1"/>
        </p:nvSpPr>
        <p:spPr bwMode="ltGray">
          <a:xfrm>
            <a:off x="11567159" y="6679711"/>
            <a:ext cx="452825" cy="12311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914400" eaLnBrk="0" fontAlgn="base" latinLnBrk="0" hangingPunct="0">
              <a:lnSpc>
                <a:spcPct val="100000"/>
              </a:lnSpc>
              <a:spcBef>
                <a:spcPct val="0"/>
              </a:spcBef>
              <a:spcAft>
                <a:spcPct val="0"/>
              </a:spcAft>
              <a:buClrTx/>
              <a:buSzTx/>
              <a:buFontTx/>
              <a:buNone/>
              <a:tabLst/>
              <a:defRPr/>
            </a:pPr>
            <a:fld id="{8D7874BA-B114-4D1F-A449-70AD1C45E88A}" type="slidenum">
              <a:rPr kumimoji="0" lang="en-US" sz="800" b="0" i="0" u="none" strike="noStrike" kern="0" cap="none" spc="0" normalizeH="0" baseline="0" noProof="0" smtClean="0">
                <a:ln>
                  <a:noFill/>
                </a:ln>
                <a:solidFill>
                  <a:schemeClr val="tx2">
                    <a:lumMod val="75000"/>
                  </a:schemeClr>
                </a:solidFill>
                <a:effectLst/>
                <a:uLnTx/>
                <a:uFillTx/>
                <a:ea typeface="MS PGothic" pitchFamily="34" charset="-128"/>
              </a:rPr>
              <a:pPr marL="0" marR="0" lvl="0" indent="0" algn="r" defTabSz="914400" eaLnBrk="0" fontAlgn="base" latinLnBrk="0" hangingPunct="0">
                <a:lnSpc>
                  <a:spcPct val="100000"/>
                </a:lnSpc>
                <a:spcBef>
                  <a:spcPct val="0"/>
                </a:spcBef>
                <a:spcAft>
                  <a:spcPct val="0"/>
                </a:spcAft>
                <a:buClrTx/>
                <a:buSzTx/>
                <a:buFontTx/>
                <a:buNone/>
                <a:tabLst/>
                <a:defRPr/>
              </a:pPr>
              <a:t>‹#›</a:t>
            </a:fld>
            <a:endParaRPr kumimoji="0" lang="en-US" sz="800" b="0" i="0" u="none" strike="noStrike" kern="0" cap="none" spc="0" normalizeH="0" baseline="0" noProof="0" dirty="0">
              <a:ln>
                <a:noFill/>
              </a:ln>
              <a:solidFill>
                <a:schemeClr val="tx2">
                  <a:lumMod val="75000"/>
                </a:schemeClr>
              </a:solidFill>
              <a:effectLst/>
              <a:uLnTx/>
              <a:uFillTx/>
              <a:ea typeface="MS PGothic" pitchFamily="34" charset="-128"/>
            </a:endParaRPr>
          </a:p>
        </p:txBody>
      </p:sp>
    </p:spTree>
    <p:extLst>
      <p:ext uri="{BB962C8B-B14F-4D97-AF65-F5344CB8AC3E}">
        <p14:creationId xmlns:p14="http://schemas.microsoft.com/office/powerpoint/2010/main" val="2928374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Only No Foot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A4D7EE-4EB9-47BD-B3ED-30248208721D}"/>
              </a:ext>
            </a:extLst>
          </p:cNvPr>
          <p:cNvSpPr>
            <a:spLocks noGrp="1"/>
          </p:cNvSpPr>
          <p:nvPr>
            <p:ph type="title" hasCustomPrompt="1"/>
          </p:nvPr>
        </p:nvSpPr>
        <p:spPr/>
        <p:txBody>
          <a:bodyPr/>
          <a:lstStyle>
            <a:lvl1pPr>
              <a:defRPr/>
            </a:lvl1pPr>
          </a:lstStyle>
          <a:p>
            <a:r>
              <a:rPr lang="en-US" dirty="0"/>
              <a:t>add title – keep it brief</a:t>
            </a:r>
          </a:p>
        </p:txBody>
      </p:sp>
      <p:sp>
        <p:nvSpPr>
          <p:cNvPr id="4" name="Freeform: Shape 3">
            <a:extLst>
              <a:ext uri="{FF2B5EF4-FFF2-40B4-BE49-F238E27FC236}">
                <a16:creationId xmlns:a16="http://schemas.microsoft.com/office/drawing/2014/main" id="{E3BA5223-32A3-4F4D-A64E-5A3DC4846203}"/>
              </a:ext>
            </a:extLst>
          </p:cNvPr>
          <p:cNvSpPr/>
          <p:nvPr userDrawn="1"/>
        </p:nvSpPr>
        <p:spPr>
          <a:xfrm>
            <a:off x="3048" y="6601968"/>
            <a:ext cx="12188952" cy="256032"/>
          </a:xfrm>
          <a:custGeom>
            <a:avLst/>
            <a:gdLst>
              <a:gd name="connsiteX0" fmla="*/ 8949770 w 12188952"/>
              <a:gd name="connsiteY0" fmla="*/ 0 h 233465"/>
              <a:gd name="connsiteX1" fmla="*/ 12188952 w 12188952"/>
              <a:gd name="connsiteY1" fmla="*/ 0 h 233465"/>
              <a:gd name="connsiteX2" fmla="*/ 12188952 w 12188952"/>
              <a:gd name="connsiteY2" fmla="*/ 114871 h 233465"/>
              <a:gd name="connsiteX3" fmla="*/ 12188952 w 12188952"/>
              <a:gd name="connsiteY3" fmla="*/ 169441 h 233465"/>
              <a:gd name="connsiteX4" fmla="*/ 12188952 w 12188952"/>
              <a:gd name="connsiteY4" fmla="*/ 233465 h 233465"/>
              <a:gd name="connsiteX5" fmla="*/ 9027859 w 12188952"/>
              <a:gd name="connsiteY5" fmla="*/ 233465 h 233465"/>
              <a:gd name="connsiteX6" fmla="*/ 1048596 w 12188952"/>
              <a:gd name="connsiteY6" fmla="*/ 233465 h 233465"/>
              <a:gd name="connsiteX7" fmla="*/ 33436 w 12188952"/>
              <a:gd name="connsiteY7" fmla="*/ 233465 h 233465"/>
              <a:gd name="connsiteX8" fmla="*/ 0 w 12188952"/>
              <a:gd name="connsiteY8" fmla="*/ 233465 h 233465"/>
              <a:gd name="connsiteX9" fmla="*/ 0 w 12188952"/>
              <a:gd name="connsiteY9" fmla="*/ 169375 h 233465"/>
              <a:gd name="connsiteX10" fmla="*/ 0 w 12188952"/>
              <a:gd name="connsiteY10" fmla="*/ 126232 h 233465"/>
              <a:gd name="connsiteX11" fmla="*/ 0 w 12188952"/>
              <a:gd name="connsiteY11" fmla="*/ 109891 h 233465"/>
              <a:gd name="connsiteX12" fmla="*/ 8695556 w 12188952"/>
              <a:gd name="connsiteY12" fmla="*/ 109891 h 233465"/>
              <a:gd name="connsiteX13" fmla="*/ 8949770 w 12188952"/>
              <a:gd name="connsiteY13" fmla="*/ 0 h 233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8952" h="233465">
                <a:moveTo>
                  <a:pt x="8949770" y="0"/>
                </a:moveTo>
                <a:lnTo>
                  <a:pt x="12188952" y="0"/>
                </a:lnTo>
                <a:lnTo>
                  <a:pt x="12188952" y="114871"/>
                </a:lnTo>
                <a:lnTo>
                  <a:pt x="12188952" y="169441"/>
                </a:lnTo>
                <a:lnTo>
                  <a:pt x="12188952" y="233465"/>
                </a:lnTo>
                <a:lnTo>
                  <a:pt x="9027859" y="233465"/>
                </a:lnTo>
                <a:lnTo>
                  <a:pt x="1048596" y="233465"/>
                </a:lnTo>
                <a:lnTo>
                  <a:pt x="33436" y="233465"/>
                </a:lnTo>
                <a:lnTo>
                  <a:pt x="0" y="233465"/>
                </a:lnTo>
                <a:lnTo>
                  <a:pt x="0" y="169375"/>
                </a:lnTo>
                <a:lnTo>
                  <a:pt x="0" y="126232"/>
                </a:lnTo>
                <a:lnTo>
                  <a:pt x="0" y="109891"/>
                </a:lnTo>
                <a:lnTo>
                  <a:pt x="8695556" y="109891"/>
                </a:lnTo>
                <a:lnTo>
                  <a:pt x="894977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086775" rtl="0" eaLnBrk="1" fontAlgn="auto" latinLnBrk="0" hangingPunct="1">
              <a:lnSpc>
                <a:spcPct val="90000"/>
              </a:lnSpc>
              <a:spcBef>
                <a:spcPts val="800"/>
              </a:spcBef>
              <a:spcAft>
                <a:spcPts val="0"/>
              </a:spcAft>
              <a:buClrTx/>
              <a:buSzTx/>
              <a:buFontTx/>
              <a:buNone/>
              <a:tabLst/>
              <a:defRPr/>
            </a:pPr>
            <a:r>
              <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rPr>
              <a:t>\</a:t>
            </a:r>
          </a:p>
        </p:txBody>
      </p:sp>
      <p:sp>
        <p:nvSpPr>
          <p:cNvPr id="5" name="Rectangle 6">
            <a:extLst>
              <a:ext uri="{FF2B5EF4-FFF2-40B4-BE49-F238E27FC236}">
                <a16:creationId xmlns:a16="http://schemas.microsoft.com/office/drawing/2014/main" id="{D4D6D9EB-02EE-4388-AB2D-1BAC69EB6EF0}"/>
              </a:ext>
            </a:extLst>
          </p:cNvPr>
          <p:cNvSpPr txBox="1">
            <a:spLocks noChangeArrowheads="1"/>
          </p:cNvSpPr>
          <p:nvPr userDrawn="1"/>
        </p:nvSpPr>
        <p:spPr bwMode="ltGray">
          <a:xfrm>
            <a:off x="11567159" y="6679711"/>
            <a:ext cx="452825" cy="12311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914400" eaLnBrk="0" fontAlgn="base" latinLnBrk="0" hangingPunct="0">
              <a:lnSpc>
                <a:spcPct val="100000"/>
              </a:lnSpc>
              <a:spcBef>
                <a:spcPct val="0"/>
              </a:spcBef>
              <a:spcAft>
                <a:spcPct val="0"/>
              </a:spcAft>
              <a:buClrTx/>
              <a:buSzTx/>
              <a:buFontTx/>
              <a:buNone/>
              <a:tabLst/>
              <a:defRPr/>
            </a:pPr>
            <a:fld id="{8D7874BA-B114-4D1F-A449-70AD1C45E88A}" type="slidenum">
              <a:rPr kumimoji="0" lang="en-US" sz="800" b="0" i="0" u="none" strike="noStrike" kern="0" cap="none" spc="0" normalizeH="0" baseline="0" noProof="0" smtClean="0">
                <a:ln>
                  <a:noFill/>
                </a:ln>
                <a:solidFill>
                  <a:schemeClr val="tx2">
                    <a:lumMod val="75000"/>
                  </a:schemeClr>
                </a:solidFill>
                <a:effectLst/>
                <a:uLnTx/>
                <a:uFillTx/>
                <a:ea typeface="MS PGothic" pitchFamily="34" charset="-128"/>
              </a:rPr>
              <a:pPr marL="0" marR="0" lvl="0" indent="0" algn="r" defTabSz="914400" eaLnBrk="0" fontAlgn="base" latinLnBrk="0" hangingPunct="0">
                <a:lnSpc>
                  <a:spcPct val="100000"/>
                </a:lnSpc>
                <a:spcBef>
                  <a:spcPct val="0"/>
                </a:spcBef>
                <a:spcAft>
                  <a:spcPct val="0"/>
                </a:spcAft>
                <a:buClrTx/>
                <a:buSzTx/>
                <a:buFontTx/>
                <a:buNone/>
                <a:tabLst/>
                <a:defRPr/>
              </a:pPr>
              <a:t>‹#›</a:t>
            </a:fld>
            <a:endParaRPr kumimoji="0" lang="en-US" sz="800" b="0" i="0" u="none" strike="noStrike" kern="0" cap="none" spc="0" normalizeH="0" baseline="0" noProof="0" dirty="0">
              <a:ln>
                <a:noFill/>
              </a:ln>
              <a:solidFill>
                <a:schemeClr val="tx2">
                  <a:lumMod val="75000"/>
                </a:schemeClr>
              </a:solidFill>
              <a:effectLst/>
              <a:uLnTx/>
              <a:uFillTx/>
              <a:ea typeface="MS PGothic" pitchFamily="34" charset="-128"/>
            </a:endParaRPr>
          </a:p>
        </p:txBody>
      </p:sp>
    </p:spTree>
    <p:extLst>
      <p:ext uri="{BB962C8B-B14F-4D97-AF65-F5344CB8AC3E}">
        <p14:creationId xmlns:p14="http://schemas.microsoft.com/office/powerpoint/2010/main" val="2692212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solidFill>
          <a:srgbClr val="3C4647"/>
        </a:solidFill>
        <a:effectLst/>
      </p:bgPr>
    </p:bg>
    <p:spTree>
      <p:nvGrpSpPr>
        <p:cNvPr id="1" name=""/>
        <p:cNvGrpSpPr/>
        <p:nvPr/>
      </p:nvGrpSpPr>
      <p:grpSpPr>
        <a:xfrm>
          <a:off x="0" y="0"/>
          <a:ext cx="0" cy="0"/>
          <a:chOff x="0" y="0"/>
          <a:chExt cx="0" cy="0"/>
        </a:xfrm>
      </p:grpSpPr>
      <p:sp>
        <p:nvSpPr>
          <p:cNvPr id="9" name="object 20">
            <a:hlinkClick r:id="rId2"/>
            <a:extLst>
              <a:ext uri="{FF2B5EF4-FFF2-40B4-BE49-F238E27FC236}">
                <a16:creationId xmlns:a16="http://schemas.microsoft.com/office/drawing/2014/main" id="{7ED43A46-AFFE-4105-A07A-4D800F0FD780}"/>
              </a:ext>
            </a:extLst>
          </p:cNvPr>
          <p:cNvSpPr txBox="1"/>
          <p:nvPr userDrawn="1"/>
        </p:nvSpPr>
        <p:spPr>
          <a:xfrm>
            <a:off x="369696" y="5208601"/>
            <a:ext cx="2459879" cy="322523"/>
          </a:xfrm>
          <a:prstGeom prst="rect">
            <a:avLst/>
          </a:prstGeom>
        </p:spPr>
        <p:txBody>
          <a:bodyPr vert="horz" wrap="square" lIns="0" tIns="14604" rIns="0" bIns="0" rtlCol="0">
            <a:spAutoFit/>
          </a:bodyPr>
          <a:lstStyle/>
          <a:p>
            <a:pPr marL="12700" marR="0" lvl="0" indent="0" algn="ctr" defTabSz="1086775" rtl="0" eaLnBrk="1" fontAlgn="auto" latinLnBrk="0" hangingPunct="1">
              <a:lnSpc>
                <a:spcPct val="100000"/>
              </a:lnSpc>
              <a:spcBef>
                <a:spcPts val="114"/>
              </a:spcBef>
              <a:spcAft>
                <a:spcPts val="0"/>
              </a:spcAft>
              <a:buClrTx/>
              <a:buSzTx/>
              <a:buFontTx/>
              <a:buNone/>
              <a:tabLst/>
              <a:defRPr/>
            </a:pPr>
            <a:r>
              <a:rPr kumimoji="0" sz="2000" b="1" i="0" u="none" strike="noStrike" kern="1200" cap="none" spc="200" normalizeH="0" noProof="0" dirty="0">
                <a:ln>
                  <a:noFill/>
                </a:ln>
                <a:solidFill>
                  <a:schemeClr val="bg2"/>
                </a:solidFill>
                <a:effectLst/>
                <a:uLnTx/>
                <a:uFillTx/>
                <a:latin typeface="PTCRaleway"/>
                <a:ea typeface="+mn-ea"/>
                <a:cs typeface="PTCRaleway"/>
              </a:rPr>
              <a:t>ptc.com</a:t>
            </a:r>
            <a:endParaRPr kumimoji="0" sz="2000" b="0" i="0" u="none" strike="noStrike" kern="1200" cap="none" spc="200" normalizeH="0" noProof="0" dirty="0">
              <a:ln>
                <a:noFill/>
              </a:ln>
              <a:solidFill>
                <a:schemeClr val="bg2"/>
              </a:solidFill>
              <a:effectLst/>
              <a:uLnTx/>
              <a:uFillTx/>
              <a:latin typeface="PTCRaleway"/>
              <a:ea typeface="+mn-ea"/>
              <a:cs typeface="PTCRaleway"/>
            </a:endParaRPr>
          </a:p>
        </p:txBody>
      </p:sp>
      <p:grpSp>
        <p:nvGrpSpPr>
          <p:cNvPr id="7" name="Group 6">
            <a:extLst>
              <a:ext uri="{FF2B5EF4-FFF2-40B4-BE49-F238E27FC236}">
                <a16:creationId xmlns:a16="http://schemas.microsoft.com/office/drawing/2014/main" id="{969ABB46-9366-47EC-8281-970F2B4A701E}"/>
              </a:ext>
            </a:extLst>
          </p:cNvPr>
          <p:cNvGrpSpPr/>
          <p:nvPr userDrawn="1"/>
        </p:nvGrpSpPr>
        <p:grpSpPr>
          <a:xfrm>
            <a:off x="4220144" y="3133535"/>
            <a:ext cx="3751712" cy="590931"/>
            <a:chOff x="4538660" y="3133535"/>
            <a:chExt cx="3751712" cy="590931"/>
          </a:xfrm>
        </p:grpSpPr>
        <p:sp>
          <p:nvSpPr>
            <p:cNvPr id="30" name="Title 5">
              <a:extLst>
                <a:ext uri="{FF2B5EF4-FFF2-40B4-BE49-F238E27FC236}">
                  <a16:creationId xmlns:a16="http://schemas.microsoft.com/office/drawing/2014/main" id="{61A34D6B-75F2-4EF8-8F57-128F503089FE}"/>
                </a:ext>
              </a:extLst>
            </p:cNvPr>
            <p:cNvSpPr txBox="1">
              <a:spLocks/>
            </p:cNvSpPr>
            <p:nvPr userDrawn="1"/>
          </p:nvSpPr>
          <p:spPr>
            <a:xfrm>
              <a:off x="6784848" y="3133535"/>
              <a:ext cx="1505524" cy="590931"/>
            </a:xfrm>
            <a:prstGeom prst="rect">
              <a:avLst/>
            </a:prstGeom>
          </p:spPr>
          <p:txBody>
            <a:bodyPr vert="horz" wrap="square" lIns="0" tIns="0" rIns="0" bIns="0" rtlCol="0" anchor="ctr" anchorCtr="0">
              <a:spAutoFit/>
            </a:bodyPr>
            <a:lstStyle>
              <a:lvl1pPr algn="ctr" defTabSz="1086775" rtl="0" eaLnBrk="1" latinLnBrk="0" hangingPunct="1">
                <a:lnSpc>
                  <a:spcPct val="80000"/>
                </a:lnSpc>
                <a:spcBef>
                  <a:spcPct val="0"/>
                </a:spcBef>
                <a:buNone/>
                <a:defRPr sz="4800" b="0" kern="1200" cap="all" baseline="0">
                  <a:solidFill>
                    <a:schemeClr val="bg1"/>
                  </a:solidFill>
                  <a:latin typeface="PTCRaleway Black" panose="020B0A03030101060003" pitchFamily="34" charset="0"/>
                  <a:ea typeface="+mj-ea"/>
                  <a:cs typeface="+mj-cs"/>
                </a:defRPr>
              </a:lvl1pPr>
            </a:lstStyle>
            <a:p>
              <a:r>
                <a:rPr lang="en-US" dirty="0">
                  <a:latin typeface="+mn-lt"/>
                </a:rPr>
                <a:t>you</a:t>
              </a:r>
            </a:p>
          </p:txBody>
        </p:sp>
        <p:sp>
          <p:nvSpPr>
            <p:cNvPr id="31" name="Title 5">
              <a:extLst>
                <a:ext uri="{FF2B5EF4-FFF2-40B4-BE49-F238E27FC236}">
                  <a16:creationId xmlns:a16="http://schemas.microsoft.com/office/drawing/2014/main" id="{21ED058C-9AE3-4F6F-8EC1-CF71ABA78546}"/>
                </a:ext>
              </a:extLst>
            </p:cNvPr>
            <p:cNvSpPr txBox="1">
              <a:spLocks/>
            </p:cNvSpPr>
            <p:nvPr userDrawn="1"/>
          </p:nvSpPr>
          <p:spPr>
            <a:xfrm>
              <a:off x="4538660" y="3133535"/>
              <a:ext cx="2325436" cy="590931"/>
            </a:xfrm>
            <a:prstGeom prst="rect">
              <a:avLst/>
            </a:prstGeom>
          </p:spPr>
          <p:txBody>
            <a:bodyPr vert="horz" lIns="0" tIns="0" rIns="0" bIns="0" rtlCol="0" anchor="ctr" anchorCtr="0">
              <a:spAutoFit/>
            </a:bodyPr>
            <a:lstStyle>
              <a:lvl1pPr algn="ctr" defTabSz="1086775" rtl="0" eaLnBrk="1" latinLnBrk="0" hangingPunct="1">
                <a:lnSpc>
                  <a:spcPct val="80000"/>
                </a:lnSpc>
                <a:spcBef>
                  <a:spcPct val="0"/>
                </a:spcBef>
                <a:buNone/>
                <a:defRPr sz="4800" b="0" kern="1200" cap="all" baseline="0">
                  <a:solidFill>
                    <a:schemeClr val="bg1"/>
                  </a:solidFill>
                  <a:latin typeface="PTCRaleway Black" panose="020B0A03030101060003" pitchFamily="34" charset="0"/>
                  <a:ea typeface="+mj-ea"/>
                  <a:cs typeface="+mj-cs"/>
                </a:defRPr>
              </a:lvl1pPr>
            </a:lstStyle>
            <a:p>
              <a:r>
                <a:rPr lang="en-US" dirty="0"/>
                <a:t>thank</a:t>
              </a:r>
            </a:p>
          </p:txBody>
        </p:sp>
      </p:grpSp>
      <p:pic>
        <p:nvPicPr>
          <p:cNvPr id="38" name="Picture 37">
            <a:hlinkClick r:id="rId3"/>
            <a:extLst>
              <a:ext uri="{FF2B5EF4-FFF2-40B4-BE49-F238E27FC236}">
                <a16:creationId xmlns:a16="http://schemas.microsoft.com/office/drawing/2014/main" id="{6C96BA37-A42C-42D5-9D7A-F22A1448F7E2}"/>
              </a:ext>
            </a:extLst>
          </p:cNvPr>
          <p:cNvPicPr>
            <a:picLocks noChangeAspect="1"/>
          </p:cNvPicPr>
          <p:nvPr userDrawn="1"/>
        </p:nvPicPr>
        <p:blipFill>
          <a:blip r:embed="rId4"/>
          <a:stretch>
            <a:fillRect/>
          </a:stretch>
        </p:blipFill>
        <p:spPr>
          <a:xfrm>
            <a:off x="748938" y="5879317"/>
            <a:ext cx="329213" cy="396274"/>
          </a:xfrm>
          <a:prstGeom prst="rect">
            <a:avLst/>
          </a:prstGeom>
        </p:spPr>
      </p:pic>
      <p:pic>
        <p:nvPicPr>
          <p:cNvPr id="52" name="Picture 51">
            <a:hlinkClick r:id="rId5"/>
            <a:extLst>
              <a:ext uri="{FF2B5EF4-FFF2-40B4-BE49-F238E27FC236}">
                <a16:creationId xmlns:a16="http://schemas.microsoft.com/office/drawing/2014/main" id="{7B0A66D6-16A5-4237-A88D-05AB2F1BE138}"/>
              </a:ext>
            </a:extLst>
          </p:cNvPr>
          <p:cNvPicPr>
            <a:picLocks noChangeAspect="1"/>
          </p:cNvPicPr>
          <p:nvPr userDrawn="1"/>
        </p:nvPicPr>
        <p:blipFill>
          <a:blip r:embed="rId6"/>
          <a:stretch>
            <a:fillRect/>
          </a:stretch>
        </p:blipFill>
        <p:spPr>
          <a:xfrm>
            <a:off x="1203673" y="5871207"/>
            <a:ext cx="335309" cy="396274"/>
          </a:xfrm>
          <a:prstGeom prst="rect">
            <a:avLst/>
          </a:prstGeom>
        </p:spPr>
      </p:pic>
      <p:pic>
        <p:nvPicPr>
          <p:cNvPr id="53" name="Picture 52">
            <a:hlinkClick r:id="rId7"/>
            <a:extLst>
              <a:ext uri="{FF2B5EF4-FFF2-40B4-BE49-F238E27FC236}">
                <a16:creationId xmlns:a16="http://schemas.microsoft.com/office/drawing/2014/main" id="{4CD33D67-5AAB-49B0-981E-C7AA8350A7CA}"/>
              </a:ext>
            </a:extLst>
          </p:cNvPr>
          <p:cNvPicPr>
            <a:picLocks noChangeAspect="1"/>
          </p:cNvPicPr>
          <p:nvPr userDrawn="1"/>
        </p:nvPicPr>
        <p:blipFill>
          <a:blip r:embed="rId8"/>
          <a:stretch>
            <a:fillRect/>
          </a:stretch>
        </p:blipFill>
        <p:spPr>
          <a:xfrm>
            <a:off x="1664504" y="5871207"/>
            <a:ext cx="329213" cy="396274"/>
          </a:xfrm>
          <a:prstGeom prst="rect">
            <a:avLst/>
          </a:prstGeom>
        </p:spPr>
      </p:pic>
      <p:pic>
        <p:nvPicPr>
          <p:cNvPr id="54" name="Picture 53">
            <a:hlinkClick r:id="rId9"/>
            <a:extLst>
              <a:ext uri="{FF2B5EF4-FFF2-40B4-BE49-F238E27FC236}">
                <a16:creationId xmlns:a16="http://schemas.microsoft.com/office/drawing/2014/main" id="{68B666AB-3239-41A1-A705-1F00F02B3410}"/>
              </a:ext>
            </a:extLst>
          </p:cNvPr>
          <p:cNvPicPr>
            <a:picLocks noChangeAspect="1"/>
          </p:cNvPicPr>
          <p:nvPr userDrawn="1"/>
        </p:nvPicPr>
        <p:blipFill>
          <a:blip r:embed="rId10"/>
          <a:stretch>
            <a:fillRect/>
          </a:stretch>
        </p:blipFill>
        <p:spPr>
          <a:xfrm>
            <a:off x="2119238" y="5871207"/>
            <a:ext cx="329213" cy="396274"/>
          </a:xfrm>
          <a:prstGeom prst="rect">
            <a:avLst/>
          </a:prstGeom>
        </p:spPr>
      </p:pic>
      <p:pic>
        <p:nvPicPr>
          <p:cNvPr id="3" name="Graphic 2">
            <a:extLst>
              <a:ext uri="{FF2B5EF4-FFF2-40B4-BE49-F238E27FC236}">
                <a16:creationId xmlns:a16="http://schemas.microsoft.com/office/drawing/2014/main" id="{91A04CD8-5708-409A-BF83-42BA422C7DE0}"/>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288658" y="461079"/>
            <a:ext cx="3066773" cy="1243584"/>
          </a:xfrm>
          <a:prstGeom prst="rect">
            <a:avLst/>
          </a:prstGeom>
        </p:spPr>
      </p:pic>
      <p:pic>
        <p:nvPicPr>
          <p:cNvPr id="5" name="Picture 4">
            <a:extLst>
              <a:ext uri="{FF2B5EF4-FFF2-40B4-BE49-F238E27FC236}">
                <a16:creationId xmlns:a16="http://schemas.microsoft.com/office/drawing/2014/main" id="{6115C6C5-F9D6-448E-B1B2-C8028536A3FE}"/>
              </a:ext>
            </a:extLst>
          </p:cNvPr>
          <p:cNvPicPr>
            <a:picLocks noChangeAspect="1"/>
          </p:cNvPicPr>
          <p:nvPr userDrawn="1"/>
        </p:nvPicPr>
        <p:blipFill>
          <a:blip r:embed="rId13"/>
          <a:stretch>
            <a:fillRect/>
          </a:stretch>
        </p:blipFill>
        <p:spPr>
          <a:xfrm>
            <a:off x="0" y="0"/>
            <a:ext cx="12192000" cy="6857999"/>
          </a:xfrm>
          <a:prstGeom prst="rect">
            <a:avLst/>
          </a:prstGeom>
        </p:spPr>
      </p:pic>
    </p:spTree>
    <p:extLst>
      <p:ext uri="{BB962C8B-B14F-4D97-AF65-F5344CB8AC3E}">
        <p14:creationId xmlns:p14="http://schemas.microsoft.com/office/powerpoint/2010/main" val="23472553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Cover w Image">
    <p:bg>
      <p:bgRef idx="1001">
        <a:schemeClr val="bg1"/>
      </p:bgRef>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83093" y="5059333"/>
            <a:ext cx="4754880" cy="342017"/>
          </a:xfrm>
        </p:spPr>
        <p:txBody>
          <a:bodyPr vert="horz" wrap="square" lIns="0" tIns="9525" rIns="0" bIns="0" rtlCol="0">
            <a:spAutoFit/>
          </a:bodyPr>
          <a:lstStyle>
            <a:lvl1pPr marL="0" indent="0">
              <a:buNone/>
              <a:defRPr lang="en-US" sz="2400" b="1" kern="1200" spc="-4" dirty="0">
                <a:solidFill>
                  <a:schemeClr val="tx1"/>
                </a:solidFill>
                <a:latin typeface="+mj-lt"/>
                <a:ea typeface="+mn-ea"/>
                <a:cs typeface="PTCRaleway ExtraBold"/>
              </a:defRPr>
            </a:lvl1pPr>
          </a:lstStyle>
          <a:p>
            <a:pPr marL="9525" lvl="0">
              <a:spcBef>
                <a:spcPts val="75"/>
              </a:spcBef>
            </a:pPr>
            <a:r>
              <a:rPr lang="en-US"/>
              <a:t>Presenter’s Name</a:t>
            </a:r>
          </a:p>
        </p:txBody>
      </p:sp>
      <p:sp>
        <p:nvSpPr>
          <p:cNvPr id="8" name="Text Placeholder 7"/>
          <p:cNvSpPr>
            <a:spLocks noGrp="1"/>
          </p:cNvSpPr>
          <p:nvPr>
            <p:ph type="body" sz="quarter" idx="10" hasCustomPrompt="1"/>
          </p:nvPr>
        </p:nvSpPr>
        <p:spPr bwMode="gray">
          <a:xfrm>
            <a:off x="503103" y="5396933"/>
            <a:ext cx="4572000" cy="221599"/>
          </a:xfrm>
        </p:spPr>
        <p:txBody>
          <a:bodyPr>
            <a:noAutofit/>
          </a:bodyPr>
          <a:lstStyle>
            <a:lvl1pPr marL="0" indent="0" algn="l">
              <a:spcBef>
                <a:spcPts val="0"/>
              </a:spcBef>
              <a:buNone/>
              <a:defRPr lang="en-US" sz="1700" i="1" kern="1200" spc="8" dirty="0">
                <a:solidFill>
                  <a:schemeClr val="tx1"/>
                </a:solidFill>
                <a:latin typeface="+mj-lt"/>
                <a:ea typeface="+mn-ea"/>
                <a:cs typeface="PTCRaleway"/>
              </a:defRPr>
            </a:lvl1pPr>
            <a:lvl2pPr marL="455613"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Presenter’s Title</a:t>
            </a:r>
          </a:p>
        </p:txBody>
      </p:sp>
      <p:sp>
        <p:nvSpPr>
          <p:cNvPr id="10" name="Text Placeholder 9"/>
          <p:cNvSpPr>
            <a:spLocks noGrp="1"/>
          </p:cNvSpPr>
          <p:nvPr>
            <p:ph type="body" sz="quarter" idx="12" hasCustomPrompt="1"/>
          </p:nvPr>
        </p:nvSpPr>
        <p:spPr bwMode="gray">
          <a:xfrm>
            <a:off x="529443" y="6399289"/>
            <a:ext cx="3749040" cy="196592"/>
          </a:xfrm>
        </p:spPr>
        <p:txBody>
          <a:bodyPr vert="horz" wrap="square" lIns="0" tIns="9525" rIns="0" bIns="0" rtlCol="0" anchor="ctr" anchorCtr="0">
            <a:spAutoFit/>
          </a:bodyPr>
          <a:lstStyle>
            <a:lvl1pPr marL="0" indent="0">
              <a:buFontTx/>
              <a:buNone/>
              <a:defRPr lang="en-US" sz="1350" spc="8" dirty="0">
                <a:solidFill>
                  <a:schemeClr val="tx2">
                    <a:lumMod val="50000"/>
                  </a:schemeClr>
                </a:solidFill>
                <a:latin typeface="+mj-lt"/>
                <a:cs typeface="PTCRaleway"/>
              </a:defRPr>
            </a:lvl1pPr>
          </a:lstStyle>
          <a:p>
            <a:pPr marL="9525" lvl="0">
              <a:spcBef>
                <a:spcPts val="75"/>
              </a:spcBef>
            </a:pPr>
            <a:r>
              <a:rPr lang="en-US" dirty="0"/>
              <a:t>Add Date</a:t>
            </a:r>
          </a:p>
        </p:txBody>
      </p:sp>
      <p:sp>
        <p:nvSpPr>
          <p:cNvPr id="2" name="Title 1"/>
          <p:cNvSpPr>
            <a:spLocks noGrp="1"/>
          </p:cNvSpPr>
          <p:nvPr>
            <p:ph type="ctrTitle" hasCustomPrompt="1"/>
          </p:nvPr>
        </p:nvSpPr>
        <p:spPr bwMode="ltGray">
          <a:xfrm>
            <a:off x="473422" y="2708808"/>
            <a:ext cx="4409826" cy="1065933"/>
          </a:xfrm>
        </p:spPr>
        <p:txBody>
          <a:bodyPr vert="horz" wrap="square" lIns="0" tIns="9525" rIns="0" bIns="0" rtlCol="0" anchor="ctr" anchorCtr="0">
            <a:spAutoFit/>
          </a:bodyPr>
          <a:lstStyle>
            <a:lvl1pPr>
              <a:defRPr lang="en-US" sz="4200" b="1" dirty="0">
                <a:solidFill>
                  <a:schemeClr val="tx1"/>
                </a:solidFill>
              </a:defRPr>
            </a:lvl1pPr>
          </a:lstStyle>
          <a:p>
            <a:pPr marL="9525">
              <a:lnSpc>
                <a:spcPct val="78000"/>
              </a:lnSpc>
              <a:spcBef>
                <a:spcPts val="75"/>
              </a:spcBef>
              <a:tabLst>
                <a:tab pos="2245519" algn="l"/>
              </a:tabLst>
            </a:pPr>
            <a:r>
              <a:rPr lang="en-US" sz="4400" b="1" dirty="0"/>
              <a:t>PRESENTATION TITLE</a:t>
            </a:r>
          </a:p>
        </p:txBody>
      </p:sp>
      <p:pic>
        <p:nvPicPr>
          <p:cNvPr id="12" name="Graphic 11">
            <a:extLst>
              <a:ext uri="{FF2B5EF4-FFF2-40B4-BE49-F238E27FC236}">
                <a16:creationId xmlns:a16="http://schemas.microsoft.com/office/drawing/2014/main" id="{686A903A-4982-424F-B3B0-9B8CF40D994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040" y="6017774"/>
            <a:ext cx="2892560" cy="215304"/>
          </a:xfrm>
          <a:prstGeom prst="rect">
            <a:avLst/>
          </a:prstGeom>
        </p:spPr>
      </p:pic>
      <p:pic>
        <p:nvPicPr>
          <p:cNvPr id="14" name="Graphic 13">
            <a:extLst>
              <a:ext uri="{FF2B5EF4-FFF2-40B4-BE49-F238E27FC236}">
                <a16:creationId xmlns:a16="http://schemas.microsoft.com/office/drawing/2014/main" id="{9DFEF7AB-D202-411C-88E8-EE2C07650B05}"/>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9184" y="116399"/>
            <a:ext cx="3968766" cy="1609344"/>
          </a:xfrm>
          <a:prstGeom prst="rect">
            <a:avLst/>
          </a:prstGeom>
        </p:spPr>
      </p:pic>
      <p:grpSp>
        <p:nvGrpSpPr>
          <p:cNvPr id="13" name="Group 12">
            <a:extLst>
              <a:ext uri="{FF2B5EF4-FFF2-40B4-BE49-F238E27FC236}">
                <a16:creationId xmlns:a16="http://schemas.microsoft.com/office/drawing/2014/main" id="{EFC5878C-9611-44EE-9BF6-9A5E670F3220}"/>
              </a:ext>
            </a:extLst>
          </p:cNvPr>
          <p:cNvGrpSpPr/>
          <p:nvPr userDrawn="1"/>
        </p:nvGrpSpPr>
        <p:grpSpPr>
          <a:xfrm>
            <a:off x="5098163" y="-455836"/>
            <a:ext cx="8421905" cy="7945936"/>
            <a:chOff x="5098163" y="-455836"/>
            <a:chExt cx="8421905" cy="7945936"/>
          </a:xfrm>
          <a:blipFill>
            <a:blip r:embed="rId6"/>
            <a:stretch>
              <a:fillRect/>
            </a:stretch>
          </a:blipFill>
        </p:grpSpPr>
        <p:sp>
          <p:nvSpPr>
            <p:cNvPr id="15" name="Freeform: Shape 14">
              <a:extLst>
                <a:ext uri="{FF2B5EF4-FFF2-40B4-BE49-F238E27FC236}">
                  <a16:creationId xmlns:a16="http://schemas.microsoft.com/office/drawing/2014/main" id="{4585A574-F6C9-486A-BF8E-B26489EBC327}"/>
                </a:ext>
              </a:extLst>
            </p:cNvPr>
            <p:cNvSpPr/>
            <p:nvPr userDrawn="1"/>
          </p:nvSpPr>
          <p:spPr>
            <a:xfrm rot="13821780">
              <a:off x="5239135" y="-596808"/>
              <a:ext cx="5190684" cy="5472628"/>
            </a:xfrm>
            <a:custGeom>
              <a:avLst/>
              <a:gdLst>
                <a:gd name="connsiteX0" fmla="*/ 5190684 w 5190684"/>
                <a:gd name="connsiteY0" fmla="*/ 2965814 h 5472628"/>
                <a:gd name="connsiteX1" fmla="*/ 3114139 w 5190684"/>
                <a:gd name="connsiteY1" fmla="*/ 5472628 h 5472628"/>
                <a:gd name="connsiteX2" fmla="*/ 0 w 5190684"/>
                <a:gd name="connsiteY2" fmla="*/ 0 h 5472628"/>
                <a:gd name="connsiteX3" fmla="*/ 3133747 w 5190684"/>
                <a:gd name="connsiteY3" fmla="*/ 0 h 5472628"/>
                <a:gd name="connsiteX4" fmla="*/ 3518511 w 5190684"/>
                <a:gd name="connsiteY4" fmla="*/ 169 h 5472628"/>
                <a:gd name="connsiteX5" fmla="*/ 5190684 w 5190684"/>
                <a:gd name="connsiteY5" fmla="*/ 2965814 h 5472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90684" h="5472628">
                  <a:moveTo>
                    <a:pt x="5190684" y="2965814"/>
                  </a:moveTo>
                  <a:lnTo>
                    <a:pt x="3114139" y="5472628"/>
                  </a:lnTo>
                  <a:lnTo>
                    <a:pt x="0" y="0"/>
                  </a:lnTo>
                  <a:lnTo>
                    <a:pt x="3133747" y="0"/>
                  </a:lnTo>
                  <a:lnTo>
                    <a:pt x="3518511" y="169"/>
                  </a:lnTo>
                  <a:lnTo>
                    <a:pt x="5190684" y="2965814"/>
                  </a:lnTo>
                  <a:close/>
                </a:path>
              </a:pathLst>
            </a:cu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16" name="Freeform: Shape 15">
              <a:extLst>
                <a:ext uri="{FF2B5EF4-FFF2-40B4-BE49-F238E27FC236}">
                  <a16:creationId xmlns:a16="http://schemas.microsoft.com/office/drawing/2014/main" id="{C3B0B130-7D67-4CAE-B150-D073A38C66C7}"/>
                </a:ext>
              </a:extLst>
            </p:cNvPr>
            <p:cNvSpPr/>
            <p:nvPr userDrawn="1"/>
          </p:nvSpPr>
          <p:spPr>
            <a:xfrm rot="13821780">
              <a:off x="8007792" y="1977824"/>
              <a:ext cx="5029645" cy="5994907"/>
            </a:xfrm>
            <a:custGeom>
              <a:avLst/>
              <a:gdLst>
                <a:gd name="connsiteX0" fmla="*/ 3516449 w 5029645"/>
                <a:gd name="connsiteY0" fmla="*/ 5994907 h 5994907"/>
                <a:gd name="connsiteX1" fmla="*/ 1394416 w 5029645"/>
                <a:gd name="connsiteY1" fmla="*/ 4237097 h 5994907"/>
                <a:gd name="connsiteX2" fmla="*/ 1677138 w 5029645"/>
                <a:gd name="connsiteY2" fmla="*/ 3756672 h 5994907"/>
                <a:gd name="connsiteX3" fmla="*/ 1317698 w 5029645"/>
                <a:gd name="connsiteY3" fmla="*/ 3124534 h 5994907"/>
                <a:gd name="connsiteX4" fmla="*/ 920847 w 5029645"/>
                <a:gd name="connsiteY4" fmla="*/ 3844814 h 5994907"/>
                <a:gd name="connsiteX5" fmla="*/ 280815 w 5029645"/>
                <a:gd name="connsiteY5" fmla="*/ 3314638 h 5994907"/>
                <a:gd name="connsiteX6" fmla="*/ 280817 w 5029645"/>
                <a:gd name="connsiteY6" fmla="*/ 3314636 h 5994907"/>
                <a:gd name="connsiteX7" fmla="*/ 0 w 5029645"/>
                <a:gd name="connsiteY7" fmla="*/ 3082019 h 5994907"/>
                <a:gd name="connsiteX8" fmla="*/ 2553021 w 5029645"/>
                <a:gd name="connsiteY8" fmla="*/ 0 h 5994907"/>
                <a:gd name="connsiteX9" fmla="*/ 3082168 w 5029645"/>
                <a:gd name="connsiteY9" fmla="*/ 0 h 5994907"/>
                <a:gd name="connsiteX10" fmla="*/ 3870352 w 5029645"/>
                <a:gd name="connsiteY10" fmla="*/ 1377053 h 5994907"/>
                <a:gd name="connsiteX11" fmla="*/ 5029645 w 5029645"/>
                <a:gd name="connsiteY11" fmla="*/ 3437574 h 5994907"/>
                <a:gd name="connsiteX12" fmla="*/ 3516449 w 5029645"/>
                <a:gd name="connsiteY12" fmla="*/ 5994907 h 5994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29645" h="5994907">
                  <a:moveTo>
                    <a:pt x="3516449" y="5994907"/>
                  </a:moveTo>
                  <a:lnTo>
                    <a:pt x="1394416" y="4237097"/>
                  </a:lnTo>
                  <a:lnTo>
                    <a:pt x="1677138" y="3756672"/>
                  </a:lnTo>
                  <a:lnTo>
                    <a:pt x="1317698" y="3124534"/>
                  </a:lnTo>
                  <a:lnTo>
                    <a:pt x="920847" y="3844814"/>
                  </a:lnTo>
                  <a:lnTo>
                    <a:pt x="280815" y="3314638"/>
                  </a:lnTo>
                  <a:lnTo>
                    <a:pt x="280817" y="3314636"/>
                  </a:lnTo>
                  <a:lnTo>
                    <a:pt x="0" y="3082019"/>
                  </a:lnTo>
                  <a:lnTo>
                    <a:pt x="2553021" y="0"/>
                  </a:lnTo>
                  <a:lnTo>
                    <a:pt x="3082168" y="0"/>
                  </a:lnTo>
                  <a:lnTo>
                    <a:pt x="3870352" y="1377053"/>
                  </a:lnTo>
                  <a:lnTo>
                    <a:pt x="5029645" y="3437574"/>
                  </a:lnTo>
                  <a:lnTo>
                    <a:pt x="3516449" y="5994907"/>
                  </a:lnTo>
                  <a:close/>
                </a:path>
              </a:pathLst>
            </a:cu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17" name="Freeform: Shape 16">
              <a:extLst>
                <a:ext uri="{FF2B5EF4-FFF2-40B4-BE49-F238E27FC236}">
                  <a16:creationId xmlns:a16="http://schemas.microsoft.com/office/drawing/2014/main" id="{BA1D2E00-7E98-4FA8-A326-76AF19535B65}"/>
                </a:ext>
              </a:extLst>
            </p:cNvPr>
            <p:cNvSpPr/>
            <p:nvPr userDrawn="1"/>
          </p:nvSpPr>
          <p:spPr>
            <a:xfrm>
              <a:off x="9497710" y="0"/>
              <a:ext cx="2694290" cy="2106092"/>
            </a:xfrm>
            <a:custGeom>
              <a:avLst/>
              <a:gdLst>
                <a:gd name="connsiteX0" fmla="*/ 802401 w 2694290"/>
                <a:gd name="connsiteY0" fmla="*/ 0 h 2106092"/>
                <a:gd name="connsiteX1" fmla="*/ 2694290 w 2694290"/>
                <a:gd name="connsiteY1" fmla="*/ 0 h 2106092"/>
                <a:gd name="connsiteX2" fmla="*/ 2694290 w 2694290"/>
                <a:gd name="connsiteY2" fmla="*/ 1678210 h 2106092"/>
                <a:gd name="connsiteX3" fmla="*/ 0 w 2694290"/>
                <a:gd name="connsiteY3" fmla="*/ 2106092 h 2106092"/>
                <a:gd name="connsiteX4" fmla="*/ 802401 w 2694290"/>
                <a:gd name="connsiteY4" fmla="*/ 0 h 21060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4290" h="2106092">
                  <a:moveTo>
                    <a:pt x="802401" y="0"/>
                  </a:moveTo>
                  <a:lnTo>
                    <a:pt x="2694290" y="0"/>
                  </a:lnTo>
                  <a:lnTo>
                    <a:pt x="2694290" y="1678210"/>
                  </a:lnTo>
                  <a:lnTo>
                    <a:pt x="0" y="2106092"/>
                  </a:lnTo>
                  <a:lnTo>
                    <a:pt x="802401"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dirty="0">
                <a:solidFill>
                  <a:schemeClr val="bg1"/>
                </a:solidFill>
              </a:endParaRPr>
            </a:p>
          </p:txBody>
        </p:sp>
      </p:grpSp>
      <p:sp>
        <p:nvSpPr>
          <p:cNvPr id="23" name="Freeform: Shape 22">
            <a:extLst>
              <a:ext uri="{FF2B5EF4-FFF2-40B4-BE49-F238E27FC236}">
                <a16:creationId xmlns:a16="http://schemas.microsoft.com/office/drawing/2014/main" id="{A609CD9C-78F1-4D79-B36E-32B655429E76}"/>
              </a:ext>
            </a:extLst>
          </p:cNvPr>
          <p:cNvSpPr/>
          <p:nvPr userDrawn="1"/>
        </p:nvSpPr>
        <p:spPr>
          <a:xfrm rot="13821780">
            <a:off x="8007167" y="1970199"/>
            <a:ext cx="5029645" cy="6007608"/>
          </a:xfrm>
          <a:custGeom>
            <a:avLst/>
            <a:gdLst>
              <a:gd name="connsiteX0" fmla="*/ 3516449 w 5029645"/>
              <a:gd name="connsiteY0" fmla="*/ 5994907 h 5994907"/>
              <a:gd name="connsiteX1" fmla="*/ 1394416 w 5029645"/>
              <a:gd name="connsiteY1" fmla="*/ 4237097 h 5994907"/>
              <a:gd name="connsiteX2" fmla="*/ 1677138 w 5029645"/>
              <a:gd name="connsiteY2" fmla="*/ 3756672 h 5994907"/>
              <a:gd name="connsiteX3" fmla="*/ 1317698 w 5029645"/>
              <a:gd name="connsiteY3" fmla="*/ 3124534 h 5994907"/>
              <a:gd name="connsiteX4" fmla="*/ 920847 w 5029645"/>
              <a:gd name="connsiteY4" fmla="*/ 3844814 h 5994907"/>
              <a:gd name="connsiteX5" fmla="*/ 280815 w 5029645"/>
              <a:gd name="connsiteY5" fmla="*/ 3314638 h 5994907"/>
              <a:gd name="connsiteX6" fmla="*/ 280817 w 5029645"/>
              <a:gd name="connsiteY6" fmla="*/ 3314636 h 5994907"/>
              <a:gd name="connsiteX7" fmla="*/ 0 w 5029645"/>
              <a:gd name="connsiteY7" fmla="*/ 3082019 h 5994907"/>
              <a:gd name="connsiteX8" fmla="*/ 2553021 w 5029645"/>
              <a:gd name="connsiteY8" fmla="*/ 0 h 5994907"/>
              <a:gd name="connsiteX9" fmla="*/ 3082168 w 5029645"/>
              <a:gd name="connsiteY9" fmla="*/ 0 h 5994907"/>
              <a:gd name="connsiteX10" fmla="*/ 3870352 w 5029645"/>
              <a:gd name="connsiteY10" fmla="*/ 1377053 h 5994907"/>
              <a:gd name="connsiteX11" fmla="*/ 5029645 w 5029645"/>
              <a:gd name="connsiteY11" fmla="*/ 3437574 h 5994907"/>
              <a:gd name="connsiteX12" fmla="*/ 3516449 w 5029645"/>
              <a:gd name="connsiteY12" fmla="*/ 5994907 h 5994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29645" h="5994907">
                <a:moveTo>
                  <a:pt x="3516449" y="5994907"/>
                </a:moveTo>
                <a:lnTo>
                  <a:pt x="1394416" y="4237097"/>
                </a:lnTo>
                <a:lnTo>
                  <a:pt x="1677138" y="3756672"/>
                </a:lnTo>
                <a:lnTo>
                  <a:pt x="1317698" y="3124534"/>
                </a:lnTo>
                <a:lnTo>
                  <a:pt x="920847" y="3844814"/>
                </a:lnTo>
                <a:lnTo>
                  <a:pt x="280815" y="3314638"/>
                </a:lnTo>
                <a:lnTo>
                  <a:pt x="280817" y="3314636"/>
                </a:lnTo>
                <a:lnTo>
                  <a:pt x="0" y="3082019"/>
                </a:lnTo>
                <a:lnTo>
                  <a:pt x="2553021" y="0"/>
                </a:lnTo>
                <a:lnTo>
                  <a:pt x="3082168" y="0"/>
                </a:lnTo>
                <a:lnTo>
                  <a:pt x="3870352" y="1377053"/>
                </a:lnTo>
                <a:lnTo>
                  <a:pt x="5029645" y="3437574"/>
                </a:lnTo>
                <a:lnTo>
                  <a:pt x="3516449" y="5994907"/>
                </a:lnTo>
                <a:close/>
              </a:path>
            </a:pathLst>
          </a:custGeom>
          <a:solidFill>
            <a:srgbClr val="6CC04A">
              <a:alpha val="8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lnSpc>
                <a:spcPct val="90000"/>
              </a:lnSpc>
              <a:spcBef>
                <a:spcPts val="800"/>
              </a:spcBef>
            </a:pPr>
            <a:endParaRPr lang="en-US" dirty="0">
              <a:solidFill>
                <a:schemeClr val="bg1"/>
              </a:solidFill>
            </a:endParaRPr>
          </a:p>
        </p:txBody>
      </p:sp>
    </p:spTree>
    <p:extLst>
      <p:ext uri="{BB962C8B-B14F-4D97-AF65-F5344CB8AC3E}">
        <p14:creationId xmlns:p14="http://schemas.microsoft.com/office/powerpoint/2010/main" val="8429765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14A7928-2068-42B4-AB1B-DA77806D13C2}"/>
              </a:ext>
            </a:extLst>
          </p:cNvPr>
          <p:cNvSpPr>
            <a:spLocks noGrp="1"/>
          </p:cNvSpPr>
          <p:nvPr>
            <p:ph type="title" hasCustomPrompt="1"/>
          </p:nvPr>
        </p:nvSpPr>
        <p:spPr>
          <a:xfrm>
            <a:off x="490760" y="3207401"/>
            <a:ext cx="3182076" cy="443198"/>
          </a:xfrm>
        </p:spPr>
        <p:txBody>
          <a:bodyPr/>
          <a:lstStyle>
            <a:lvl1pPr>
              <a:defRPr sz="3600"/>
            </a:lvl1pPr>
          </a:lstStyle>
          <a:p>
            <a:r>
              <a:rPr lang="en-US" dirty="0"/>
              <a:t>add title</a:t>
            </a:r>
          </a:p>
        </p:txBody>
      </p:sp>
      <p:cxnSp>
        <p:nvCxnSpPr>
          <p:cNvPr id="5" name="Straight Connector 4">
            <a:extLst>
              <a:ext uri="{FF2B5EF4-FFF2-40B4-BE49-F238E27FC236}">
                <a16:creationId xmlns:a16="http://schemas.microsoft.com/office/drawing/2014/main" id="{AE0358D3-AC90-494A-B98F-19BDE159DB8E}"/>
              </a:ext>
            </a:extLst>
          </p:cNvPr>
          <p:cNvCxnSpPr>
            <a:cxnSpLocks/>
          </p:cNvCxnSpPr>
          <p:nvPr userDrawn="1"/>
        </p:nvCxnSpPr>
        <p:spPr>
          <a:xfrm>
            <a:off x="4080163" y="1051560"/>
            <a:ext cx="0" cy="475488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83C623BC-A0F7-46D7-87A2-096962F1FEC4}"/>
              </a:ext>
            </a:extLst>
          </p:cNvPr>
          <p:cNvSpPr/>
          <p:nvPr userDrawn="1"/>
        </p:nvSpPr>
        <p:spPr>
          <a:xfrm flipH="1" flipV="1">
            <a:off x="510776" y="2887137"/>
            <a:ext cx="960120" cy="4571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dirty="0">
              <a:solidFill>
                <a:schemeClr val="bg1"/>
              </a:solidFill>
            </a:endParaRPr>
          </a:p>
        </p:txBody>
      </p:sp>
      <p:sp>
        <p:nvSpPr>
          <p:cNvPr id="2" name="Rectangle 1">
            <a:extLst>
              <a:ext uri="{FF2B5EF4-FFF2-40B4-BE49-F238E27FC236}">
                <a16:creationId xmlns:a16="http://schemas.microsoft.com/office/drawing/2014/main" id="{53261691-7E98-456C-8945-F79E150DD66B}"/>
              </a:ext>
            </a:extLst>
          </p:cNvPr>
          <p:cNvSpPr/>
          <p:nvPr userDrawn="1"/>
        </p:nvSpPr>
        <p:spPr>
          <a:xfrm>
            <a:off x="490760" y="259080"/>
            <a:ext cx="1109440" cy="426721"/>
          </a:xfrm>
          <a:prstGeom prst="rect">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8" name="Text Placeholder 7">
            <a:extLst>
              <a:ext uri="{FF2B5EF4-FFF2-40B4-BE49-F238E27FC236}">
                <a16:creationId xmlns:a16="http://schemas.microsoft.com/office/drawing/2014/main" id="{410431AD-6A0B-4A59-8F14-809C8AA5B33B}"/>
              </a:ext>
            </a:extLst>
          </p:cNvPr>
          <p:cNvSpPr>
            <a:spLocks noGrp="1"/>
          </p:cNvSpPr>
          <p:nvPr>
            <p:ph type="body" sz="quarter" idx="10" hasCustomPrompt="1"/>
          </p:nvPr>
        </p:nvSpPr>
        <p:spPr>
          <a:xfrm>
            <a:off x="5059679" y="2533884"/>
            <a:ext cx="6641783" cy="1790234"/>
          </a:xfrm>
        </p:spPr>
        <p:txBody>
          <a:bodyPr vert="horz" wrap="square" lIns="0" tIns="0" rIns="0" bIns="0" rtlCol="0" anchor="ctr" anchorCtr="0">
            <a:spAutoFit/>
          </a:bodyPr>
          <a:lstStyle>
            <a:lvl1pPr marL="457200" indent="-457200">
              <a:defRPr lang="en-US" sz="3600" dirty="0" smtClean="0"/>
            </a:lvl1pPr>
            <a:lvl2pPr>
              <a:defRPr sz="2400"/>
            </a:lvl2pPr>
            <a:lvl3pPr>
              <a:defRPr sz="2000"/>
            </a:lvl3pPr>
            <a:lvl4pPr>
              <a:defRPr sz="2000"/>
            </a:lvl4pPr>
            <a:lvl5pPr>
              <a:defRPr sz="2000"/>
            </a:lvl5pPr>
          </a:lstStyle>
          <a:p>
            <a:pPr lvl="0"/>
            <a:r>
              <a:rPr lang="en-US" dirty="0"/>
              <a:t>Add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848895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1_Divider">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02795696-EB95-4185-8B89-3CC0AED5CF8E}"/>
              </a:ext>
            </a:extLst>
          </p:cNvPr>
          <p:cNvPicPr>
            <a:picLocks noChangeAspect="1"/>
          </p:cNvPicPr>
          <p:nvPr userDrawn="1"/>
        </p:nvPicPr>
        <p:blipFill rotWithShape="1">
          <a:blip r:embed="rId2">
            <a:alphaModFix amt="30000"/>
            <a:extLst>
              <a:ext uri="{28A0092B-C50C-407E-A947-70E740481C1C}">
                <a14:useLocalDpi xmlns:a14="http://schemas.microsoft.com/office/drawing/2010/main" val="0"/>
              </a:ext>
            </a:extLst>
          </a:blip>
          <a:srcRect l="5974" t="11245" b="4417"/>
          <a:stretch/>
        </p:blipFill>
        <p:spPr>
          <a:xfrm>
            <a:off x="-24384" y="0"/>
            <a:ext cx="12233159" cy="6857999"/>
          </a:xfrm>
          <a:prstGeom prst="rect">
            <a:avLst/>
          </a:prstGeom>
        </p:spPr>
      </p:pic>
      <p:sp>
        <p:nvSpPr>
          <p:cNvPr id="25" name="Rectangle: Rounded Corners 24">
            <a:extLst>
              <a:ext uri="{FF2B5EF4-FFF2-40B4-BE49-F238E27FC236}">
                <a16:creationId xmlns:a16="http://schemas.microsoft.com/office/drawing/2014/main" id="{940A4664-7303-44CA-9BE8-4A22FD0D7EBF}"/>
              </a:ext>
            </a:extLst>
          </p:cNvPr>
          <p:cNvSpPr/>
          <p:nvPr userDrawn="1"/>
        </p:nvSpPr>
        <p:spPr>
          <a:xfrm rot="18679580">
            <a:off x="5571697" y="2250091"/>
            <a:ext cx="5236260" cy="1832698"/>
          </a:xfrm>
          <a:prstGeom prst="roundRect">
            <a:avLst/>
          </a:prstGeom>
          <a:solidFill>
            <a:srgbClr val="F8F9FA">
              <a:alpha val="64000"/>
            </a:srgbClr>
          </a:solidFill>
          <a:ln>
            <a:noFill/>
          </a:ln>
          <a:effectLst>
            <a:softEdge rad="44450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dirty="0">
              <a:solidFill>
                <a:schemeClr val="bg1"/>
              </a:solidFill>
            </a:endParaRPr>
          </a:p>
        </p:txBody>
      </p:sp>
      <p:sp>
        <p:nvSpPr>
          <p:cNvPr id="22" name="Title 21"/>
          <p:cNvSpPr>
            <a:spLocks noGrp="1"/>
          </p:cNvSpPr>
          <p:nvPr>
            <p:ph type="title" hasCustomPrompt="1"/>
          </p:nvPr>
        </p:nvSpPr>
        <p:spPr bwMode="gray">
          <a:xfrm>
            <a:off x="2665327" y="3082752"/>
            <a:ext cx="8869680" cy="692497"/>
          </a:xfrm>
        </p:spPr>
        <p:txBody>
          <a:bodyPr anchor="ctr" anchorCtr="0">
            <a:spAutoFit/>
          </a:bodyPr>
          <a:lstStyle>
            <a:lvl1pPr algn="l">
              <a:lnSpc>
                <a:spcPct val="100000"/>
              </a:lnSpc>
              <a:defRPr lang="en-US" sz="5000" b="1" dirty="0">
                <a:solidFill>
                  <a:schemeClr val="tx1"/>
                </a:solidFill>
              </a:defRPr>
            </a:lvl1pPr>
          </a:lstStyle>
          <a:p>
            <a:pPr marL="0" lvl="0">
              <a:lnSpc>
                <a:spcPct val="90000"/>
              </a:lnSpc>
              <a:spcBef>
                <a:spcPts val="1200"/>
              </a:spcBef>
            </a:pPr>
            <a:r>
              <a:rPr lang="en-US" dirty="0"/>
              <a:t>Divider – 1 line of text</a:t>
            </a:r>
          </a:p>
        </p:txBody>
      </p:sp>
      <p:grpSp>
        <p:nvGrpSpPr>
          <p:cNvPr id="21" name="Group 20">
            <a:extLst>
              <a:ext uri="{FF2B5EF4-FFF2-40B4-BE49-F238E27FC236}">
                <a16:creationId xmlns:a16="http://schemas.microsoft.com/office/drawing/2014/main" id="{7C7F3B32-EE76-44C5-8359-BC4ACEC00C40}"/>
              </a:ext>
            </a:extLst>
          </p:cNvPr>
          <p:cNvGrpSpPr/>
          <p:nvPr userDrawn="1"/>
        </p:nvGrpSpPr>
        <p:grpSpPr>
          <a:xfrm>
            <a:off x="0" y="3160444"/>
            <a:ext cx="2455333" cy="537112"/>
            <a:chOff x="0" y="3161621"/>
            <a:chExt cx="2455333" cy="537112"/>
          </a:xfrm>
        </p:grpSpPr>
        <p:sp>
          <p:nvSpPr>
            <p:cNvPr id="13" name="Rectangle 12">
              <a:extLst>
                <a:ext uri="{FF2B5EF4-FFF2-40B4-BE49-F238E27FC236}">
                  <a16:creationId xmlns:a16="http://schemas.microsoft.com/office/drawing/2014/main" id="{DF2B67A1-EE4B-45BF-9BBC-A9A3AB5F7F53}"/>
                </a:ext>
              </a:extLst>
            </p:cNvPr>
            <p:cNvSpPr/>
            <p:nvPr userDrawn="1"/>
          </p:nvSpPr>
          <p:spPr>
            <a:xfrm>
              <a:off x="0" y="3161621"/>
              <a:ext cx="2455333" cy="5371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s-PE" dirty="0">
                <a:solidFill>
                  <a:schemeClr val="bg1"/>
                </a:solidFill>
              </a:endParaRPr>
            </a:p>
          </p:txBody>
        </p:sp>
        <p:sp>
          <p:nvSpPr>
            <p:cNvPr id="50" name="Freeform: Shape 49">
              <a:extLst>
                <a:ext uri="{FF2B5EF4-FFF2-40B4-BE49-F238E27FC236}">
                  <a16:creationId xmlns:a16="http://schemas.microsoft.com/office/drawing/2014/main" id="{95DA7B0E-0DF0-4795-BC40-8582B80C8C7D}"/>
                </a:ext>
              </a:extLst>
            </p:cNvPr>
            <p:cNvSpPr/>
            <p:nvPr userDrawn="1"/>
          </p:nvSpPr>
          <p:spPr>
            <a:xfrm rot="16200000" flipH="1">
              <a:off x="310000" y="3115270"/>
              <a:ext cx="4756" cy="274320"/>
            </a:xfrm>
            <a:custGeom>
              <a:avLst/>
              <a:gdLst>
                <a:gd name="connsiteX0" fmla="*/ 0 w 19050"/>
                <a:gd name="connsiteY0" fmla="*/ 0 h 732567"/>
                <a:gd name="connsiteX1" fmla="*/ 19050 w 19050"/>
                <a:gd name="connsiteY1" fmla="*/ 0 h 732567"/>
                <a:gd name="connsiteX2" fmla="*/ 19050 w 19050"/>
                <a:gd name="connsiteY2" fmla="*/ 732568 h 732567"/>
                <a:gd name="connsiteX3" fmla="*/ 0 w 19050"/>
                <a:gd name="connsiteY3" fmla="*/ 732568 h 732567"/>
              </a:gdLst>
              <a:ahLst/>
              <a:cxnLst>
                <a:cxn ang="0">
                  <a:pos x="connsiteX0" y="connsiteY0"/>
                </a:cxn>
                <a:cxn ang="0">
                  <a:pos x="connsiteX1" y="connsiteY1"/>
                </a:cxn>
                <a:cxn ang="0">
                  <a:pos x="connsiteX2" y="connsiteY2"/>
                </a:cxn>
                <a:cxn ang="0">
                  <a:pos x="connsiteX3" y="connsiteY3"/>
                </a:cxn>
              </a:cxnLst>
              <a:rect l="l" t="t" r="r" b="b"/>
              <a:pathLst>
                <a:path w="19050" h="732567">
                  <a:moveTo>
                    <a:pt x="0" y="0"/>
                  </a:moveTo>
                  <a:lnTo>
                    <a:pt x="19050" y="0"/>
                  </a:lnTo>
                  <a:lnTo>
                    <a:pt x="19050" y="732568"/>
                  </a:lnTo>
                  <a:lnTo>
                    <a:pt x="0" y="732568"/>
                  </a:lnTo>
                  <a:close/>
                </a:path>
              </a:pathLst>
            </a:custGeom>
            <a:solidFill>
              <a:schemeClr val="bg1"/>
            </a:solidFill>
            <a:ln w="9525" cap="flat">
              <a:solidFill>
                <a:schemeClr val="bg1"/>
              </a:solidFill>
              <a:prstDash val="solid"/>
              <a:miter/>
            </a:ln>
          </p:spPr>
          <p:txBody>
            <a:bodyPr rtlCol="0" anchor="ctr"/>
            <a:lstStyle/>
            <a:p>
              <a:endParaRPr lang="en-US" dirty="0"/>
            </a:p>
          </p:txBody>
        </p:sp>
        <p:sp>
          <p:nvSpPr>
            <p:cNvPr id="51" name="Freeform: Shape 50">
              <a:extLst>
                <a:ext uri="{FF2B5EF4-FFF2-40B4-BE49-F238E27FC236}">
                  <a16:creationId xmlns:a16="http://schemas.microsoft.com/office/drawing/2014/main" id="{132EA109-B6D2-47CB-9BC9-D55B0F9A6750}"/>
                </a:ext>
              </a:extLst>
            </p:cNvPr>
            <p:cNvSpPr/>
            <p:nvPr userDrawn="1"/>
          </p:nvSpPr>
          <p:spPr>
            <a:xfrm rot="16200000" flipH="1">
              <a:off x="82144" y="3339115"/>
              <a:ext cx="182880" cy="4755"/>
            </a:xfrm>
            <a:custGeom>
              <a:avLst/>
              <a:gdLst>
                <a:gd name="connsiteX0" fmla="*/ 0 w 734853"/>
                <a:gd name="connsiteY0" fmla="*/ 0 h 19049"/>
                <a:gd name="connsiteX1" fmla="*/ 734854 w 734853"/>
                <a:gd name="connsiteY1" fmla="*/ 0 h 19049"/>
                <a:gd name="connsiteX2" fmla="*/ 734854 w 734853"/>
                <a:gd name="connsiteY2" fmla="*/ 19050 h 19049"/>
                <a:gd name="connsiteX3" fmla="*/ 0 w 734853"/>
                <a:gd name="connsiteY3" fmla="*/ 19050 h 19049"/>
              </a:gdLst>
              <a:ahLst/>
              <a:cxnLst>
                <a:cxn ang="0">
                  <a:pos x="connsiteX0" y="connsiteY0"/>
                </a:cxn>
                <a:cxn ang="0">
                  <a:pos x="connsiteX1" y="connsiteY1"/>
                </a:cxn>
                <a:cxn ang="0">
                  <a:pos x="connsiteX2" y="connsiteY2"/>
                </a:cxn>
                <a:cxn ang="0">
                  <a:pos x="connsiteX3" y="connsiteY3"/>
                </a:cxn>
              </a:cxnLst>
              <a:rect l="l" t="t" r="r" b="b"/>
              <a:pathLst>
                <a:path w="734853" h="19049">
                  <a:moveTo>
                    <a:pt x="0" y="0"/>
                  </a:moveTo>
                  <a:lnTo>
                    <a:pt x="734854" y="0"/>
                  </a:lnTo>
                  <a:lnTo>
                    <a:pt x="734854" y="19050"/>
                  </a:lnTo>
                  <a:lnTo>
                    <a:pt x="0" y="19050"/>
                  </a:lnTo>
                  <a:close/>
                </a:path>
              </a:pathLst>
            </a:custGeom>
            <a:solidFill>
              <a:schemeClr val="bg1"/>
            </a:solidFill>
            <a:ln w="3175" cap="flat">
              <a:solidFill>
                <a:schemeClr val="bg1"/>
              </a:solidFill>
              <a:prstDash val="solid"/>
              <a:miter/>
            </a:ln>
          </p:spPr>
          <p:txBody>
            <a:bodyPr rtlCol="0" anchor="ctr"/>
            <a:lstStyle/>
            <a:p>
              <a:endParaRPr lang="en-US" dirty="0"/>
            </a:p>
          </p:txBody>
        </p:sp>
        <p:pic>
          <p:nvPicPr>
            <p:cNvPr id="24" name="Picture 23">
              <a:extLst>
                <a:ext uri="{FF2B5EF4-FFF2-40B4-BE49-F238E27FC236}">
                  <a16:creationId xmlns:a16="http://schemas.microsoft.com/office/drawing/2014/main" id="{6D0CF51F-F4CE-426F-AB3D-EFB191BB1445}"/>
                </a:ext>
              </a:extLst>
            </p:cNvPr>
            <p:cNvPicPr>
              <a:picLocks noChangeAspect="1"/>
            </p:cNvPicPr>
            <p:nvPr userDrawn="1"/>
          </p:nvPicPr>
          <p:blipFill rotWithShape="1">
            <a:blip r:embed="rId3" cstate="screen">
              <a:alphaModFix amt="50000"/>
              <a:extLst>
                <a:ext uri="{28A0092B-C50C-407E-A947-70E740481C1C}">
                  <a14:useLocalDpi xmlns:a14="http://schemas.microsoft.com/office/drawing/2010/main"/>
                </a:ext>
              </a:extLst>
            </a:blip>
            <a:srcRect l="47779" r="6346"/>
            <a:stretch/>
          </p:blipFill>
          <p:spPr>
            <a:xfrm>
              <a:off x="1722355" y="3238216"/>
              <a:ext cx="647967" cy="373101"/>
            </a:xfrm>
            <a:prstGeom prst="rect">
              <a:avLst/>
            </a:prstGeom>
          </p:spPr>
        </p:pic>
        <p:cxnSp>
          <p:nvCxnSpPr>
            <p:cNvPr id="20" name="Straight Connector 19">
              <a:extLst>
                <a:ext uri="{FF2B5EF4-FFF2-40B4-BE49-F238E27FC236}">
                  <a16:creationId xmlns:a16="http://schemas.microsoft.com/office/drawing/2014/main" id="{B8A23F11-3EF7-4BB7-9396-70D452EECC1B}"/>
                </a:ext>
              </a:extLst>
            </p:cNvPr>
            <p:cNvCxnSpPr/>
            <p:nvPr userDrawn="1"/>
          </p:nvCxnSpPr>
          <p:spPr>
            <a:xfrm>
              <a:off x="176782" y="3325341"/>
              <a:ext cx="0" cy="365760"/>
            </a:xfrm>
            <a:prstGeom prst="line">
              <a:avLst/>
            </a:prstGeom>
            <a:ln w="3175">
              <a:solidFill>
                <a:schemeClr val="bg1">
                  <a:alpha val="49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886104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2_Divider">
    <p:spTree>
      <p:nvGrpSpPr>
        <p:cNvPr id="1" name=""/>
        <p:cNvGrpSpPr/>
        <p:nvPr/>
      </p:nvGrpSpPr>
      <p:grpSpPr>
        <a:xfrm>
          <a:off x="0" y="0"/>
          <a:ext cx="0" cy="0"/>
          <a:chOff x="0" y="0"/>
          <a:chExt cx="0" cy="0"/>
        </a:xfrm>
      </p:grpSpPr>
      <p:pic>
        <p:nvPicPr>
          <p:cNvPr id="12" name="Picture 11" descr="Background pattern&#10;&#10;Description automatically generated">
            <a:extLst>
              <a:ext uri="{FF2B5EF4-FFF2-40B4-BE49-F238E27FC236}">
                <a16:creationId xmlns:a16="http://schemas.microsoft.com/office/drawing/2014/main" id="{58F95B26-E9C8-461F-A9CE-9322F34A89C5}"/>
              </a:ext>
            </a:extLst>
          </p:cNvPr>
          <p:cNvPicPr>
            <a:picLocks noChangeAspect="1"/>
          </p:cNvPicPr>
          <p:nvPr userDrawn="1"/>
        </p:nvPicPr>
        <p:blipFill rotWithShape="1">
          <a:blip r:embed="rId2">
            <a:alphaModFix amt="30000"/>
            <a:extLst>
              <a:ext uri="{28A0092B-C50C-407E-A947-70E740481C1C}">
                <a14:useLocalDpi xmlns:a14="http://schemas.microsoft.com/office/drawing/2010/main" val="0"/>
              </a:ext>
            </a:extLst>
          </a:blip>
          <a:srcRect l="5974" t="11245" b="4417"/>
          <a:stretch/>
        </p:blipFill>
        <p:spPr>
          <a:xfrm>
            <a:off x="-24384" y="0"/>
            <a:ext cx="12233159" cy="6857999"/>
          </a:xfrm>
          <a:prstGeom prst="rect">
            <a:avLst/>
          </a:prstGeom>
        </p:spPr>
      </p:pic>
      <p:sp>
        <p:nvSpPr>
          <p:cNvPr id="27" name="Rectangle: Rounded Corners 26">
            <a:extLst>
              <a:ext uri="{FF2B5EF4-FFF2-40B4-BE49-F238E27FC236}">
                <a16:creationId xmlns:a16="http://schemas.microsoft.com/office/drawing/2014/main" id="{9BB3FF62-BEB4-4BBC-9BB1-5AA72B48CF38}"/>
              </a:ext>
            </a:extLst>
          </p:cNvPr>
          <p:cNvSpPr/>
          <p:nvPr userDrawn="1"/>
        </p:nvSpPr>
        <p:spPr>
          <a:xfrm rot="18679580">
            <a:off x="5571697" y="2250091"/>
            <a:ext cx="5236260" cy="1832698"/>
          </a:xfrm>
          <a:prstGeom prst="roundRect">
            <a:avLst/>
          </a:prstGeom>
          <a:solidFill>
            <a:srgbClr val="F8F9FA">
              <a:alpha val="64000"/>
            </a:srgbClr>
          </a:solidFill>
          <a:ln>
            <a:noFill/>
          </a:ln>
          <a:effectLst>
            <a:softEdge rad="44450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dirty="0">
              <a:solidFill>
                <a:schemeClr val="bg1"/>
              </a:solidFill>
            </a:endParaRPr>
          </a:p>
        </p:txBody>
      </p:sp>
      <p:sp>
        <p:nvSpPr>
          <p:cNvPr id="22" name="Title 21"/>
          <p:cNvSpPr>
            <a:spLocks noGrp="1"/>
          </p:cNvSpPr>
          <p:nvPr>
            <p:ph type="title" hasCustomPrompt="1"/>
          </p:nvPr>
        </p:nvSpPr>
        <p:spPr bwMode="gray">
          <a:xfrm>
            <a:off x="2665328" y="3082752"/>
            <a:ext cx="8869680" cy="692497"/>
          </a:xfrm>
        </p:spPr>
        <p:txBody>
          <a:bodyPr vert="horz" lIns="0" tIns="0" rIns="0" bIns="0" rtlCol="0" anchor="ctr" anchorCtr="0">
            <a:spAutoFit/>
          </a:bodyPr>
          <a:lstStyle>
            <a:lvl1pPr>
              <a:lnSpc>
                <a:spcPct val="100000"/>
              </a:lnSpc>
              <a:defRPr lang="en-US" sz="5000" dirty="0"/>
            </a:lvl1pPr>
          </a:lstStyle>
          <a:p>
            <a:pPr marL="0" lvl="0">
              <a:lnSpc>
                <a:spcPct val="90000"/>
              </a:lnSpc>
              <a:spcBef>
                <a:spcPts val="1200"/>
              </a:spcBef>
            </a:pPr>
            <a:r>
              <a:rPr lang="en-US" dirty="0"/>
              <a:t>Divider – 2 lines of text</a:t>
            </a:r>
          </a:p>
        </p:txBody>
      </p:sp>
      <p:grpSp>
        <p:nvGrpSpPr>
          <p:cNvPr id="3" name="Group 2">
            <a:extLst>
              <a:ext uri="{FF2B5EF4-FFF2-40B4-BE49-F238E27FC236}">
                <a16:creationId xmlns:a16="http://schemas.microsoft.com/office/drawing/2014/main" id="{8D4250D6-FEAA-416E-9521-0C7E8FEDCFB1}"/>
              </a:ext>
            </a:extLst>
          </p:cNvPr>
          <p:cNvGrpSpPr/>
          <p:nvPr userDrawn="1"/>
        </p:nvGrpSpPr>
        <p:grpSpPr>
          <a:xfrm>
            <a:off x="0" y="2784626"/>
            <a:ext cx="2451100" cy="1288748"/>
            <a:chOff x="0" y="2781802"/>
            <a:chExt cx="2451100" cy="1288748"/>
          </a:xfrm>
        </p:grpSpPr>
        <p:sp>
          <p:nvSpPr>
            <p:cNvPr id="2" name="Rectangle 1">
              <a:extLst>
                <a:ext uri="{FF2B5EF4-FFF2-40B4-BE49-F238E27FC236}">
                  <a16:creationId xmlns:a16="http://schemas.microsoft.com/office/drawing/2014/main" id="{BB5A8BEB-B893-4846-98F3-0D2FA3DAF44A}"/>
                </a:ext>
              </a:extLst>
            </p:cNvPr>
            <p:cNvSpPr/>
            <p:nvPr userDrawn="1"/>
          </p:nvSpPr>
          <p:spPr>
            <a:xfrm>
              <a:off x="0" y="2781802"/>
              <a:ext cx="2451100" cy="128874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s-PE" dirty="0">
                <a:solidFill>
                  <a:schemeClr val="bg1"/>
                </a:solidFill>
              </a:endParaRPr>
            </a:p>
          </p:txBody>
        </p:sp>
        <p:pic>
          <p:nvPicPr>
            <p:cNvPr id="25" name="Picture 24">
              <a:extLst>
                <a:ext uri="{FF2B5EF4-FFF2-40B4-BE49-F238E27FC236}">
                  <a16:creationId xmlns:a16="http://schemas.microsoft.com/office/drawing/2014/main" id="{97BE8F70-36B7-458B-B578-D69CA9DC3341}"/>
                </a:ext>
              </a:extLst>
            </p:cNvPr>
            <p:cNvPicPr>
              <a:picLocks noChangeAspect="1"/>
            </p:cNvPicPr>
            <p:nvPr userDrawn="1"/>
          </p:nvPicPr>
          <p:blipFill rotWithShape="1">
            <a:blip r:embed="rId3" cstate="screen">
              <a:alphaModFix amt="50000"/>
              <a:extLst>
                <a:ext uri="{28A0092B-C50C-407E-A947-70E740481C1C}">
                  <a14:useLocalDpi xmlns:a14="http://schemas.microsoft.com/office/drawing/2010/main"/>
                </a:ext>
              </a:extLst>
            </a:blip>
            <a:srcRect l="47779" r="6346"/>
            <a:stretch/>
          </p:blipFill>
          <p:spPr>
            <a:xfrm>
              <a:off x="1602722" y="2880097"/>
              <a:ext cx="762261" cy="438912"/>
            </a:xfrm>
            <a:prstGeom prst="rect">
              <a:avLst/>
            </a:prstGeom>
          </p:spPr>
        </p:pic>
        <p:sp>
          <p:nvSpPr>
            <p:cNvPr id="23" name="Freeform: Shape 22">
              <a:extLst>
                <a:ext uri="{FF2B5EF4-FFF2-40B4-BE49-F238E27FC236}">
                  <a16:creationId xmlns:a16="http://schemas.microsoft.com/office/drawing/2014/main" id="{E408083A-7AF2-485E-81A3-882A7E58FB9E}"/>
                </a:ext>
              </a:extLst>
            </p:cNvPr>
            <p:cNvSpPr/>
            <p:nvPr userDrawn="1"/>
          </p:nvSpPr>
          <p:spPr>
            <a:xfrm rot="16200000" flipH="1">
              <a:off x="310000" y="2739428"/>
              <a:ext cx="4756" cy="274320"/>
            </a:xfrm>
            <a:custGeom>
              <a:avLst/>
              <a:gdLst>
                <a:gd name="connsiteX0" fmla="*/ 0 w 19050"/>
                <a:gd name="connsiteY0" fmla="*/ 0 h 732567"/>
                <a:gd name="connsiteX1" fmla="*/ 19050 w 19050"/>
                <a:gd name="connsiteY1" fmla="*/ 0 h 732567"/>
                <a:gd name="connsiteX2" fmla="*/ 19050 w 19050"/>
                <a:gd name="connsiteY2" fmla="*/ 732568 h 732567"/>
                <a:gd name="connsiteX3" fmla="*/ 0 w 19050"/>
                <a:gd name="connsiteY3" fmla="*/ 732568 h 732567"/>
              </a:gdLst>
              <a:ahLst/>
              <a:cxnLst>
                <a:cxn ang="0">
                  <a:pos x="connsiteX0" y="connsiteY0"/>
                </a:cxn>
                <a:cxn ang="0">
                  <a:pos x="connsiteX1" y="connsiteY1"/>
                </a:cxn>
                <a:cxn ang="0">
                  <a:pos x="connsiteX2" y="connsiteY2"/>
                </a:cxn>
                <a:cxn ang="0">
                  <a:pos x="connsiteX3" y="connsiteY3"/>
                </a:cxn>
              </a:cxnLst>
              <a:rect l="l" t="t" r="r" b="b"/>
              <a:pathLst>
                <a:path w="19050" h="732567">
                  <a:moveTo>
                    <a:pt x="0" y="0"/>
                  </a:moveTo>
                  <a:lnTo>
                    <a:pt x="19050" y="0"/>
                  </a:lnTo>
                  <a:lnTo>
                    <a:pt x="19050" y="732568"/>
                  </a:lnTo>
                  <a:lnTo>
                    <a:pt x="0" y="732568"/>
                  </a:lnTo>
                  <a:close/>
                </a:path>
              </a:pathLst>
            </a:custGeom>
            <a:solidFill>
              <a:schemeClr val="bg1"/>
            </a:solidFill>
            <a:ln w="9525" cap="flat">
              <a:solidFill>
                <a:schemeClr val="bg1"/>
              </a:solidFill>
              <a:prstDash val="solid"/>
              <a:miter/>
            </a:ln>
          </p:spPr>
          <p:txBody>
            <a:bodyPr rtlCol="0" anchor="ctr"/>
            <a:lstStyle/>
            <a:p>
              <a:endParaRPr lang="en-US" dirty="0"/>
            </a:p>
          </p:txBody>
        </p:sp>
        <p:sp>
          <p:nvSpPr>
            <p:cNvPr id="19" name="Freeform: Shape 18">
              <a:extLst>
                <a:ext uri="{FF2B5EF4-FFF2-40B4-BE49-F238E27FC236}">
                  <a16:creationId xmlns:a16="http://schemas.microsoft.com/office/drawing/2014/main" id="{8F6F5B00-CCFD-4753-AE13-694C077322FB}"/>
                </a:ext>
              </a:extLst>
            </p:cNvPr>
            <p:cNvSpPr/>
            <p:nvPr userDrawn="1"/>
          </p:nvSpPr>
          <p:spPr>
            <a:xfrm rot="16200000" flipH="1">
              <a:off x="82144" y="2970143"/>
              <a:ext cx="182880" cy="4755"/>
            </a:xfrm>
            <a:custGeom>
              <a:avLst/>
              <a:gdLst>
                <a:gd name="connsiteX0" fmla="*/ 0 w 734853"/>
                <a:gd name="connsiteY0" fmla="*/ 0 h 19049"/>
                <a:gd name="connsiteX1" fmla="*/ 734854 w 734853"/>
                <a:gd name="connsiteY1" fmla="*/ 0 h 19049"/>
                <a:gd name="connsiteX2" fmla="*/ 734854 w 734853"/>
                <a:gd name="connsiteY2" fmla="*/ 19050 h 19049"/>
                <a:gd name="connsiteX3" fmla="*/ 0 w 734853"/>
                <a:gd name="connsiteY3" fmla="*/ 19050 h 19049"/>
              </a:gdLst>
              <a:ahLst/>
              <a:cxnLst>
                <a:cxn ang="0">
                  <a:pos x="connsiteX0" y="connsiteY0"/>
                </a:cxn>
                <a:cxn ang="0">
                  <a:pos x="connsiteX1" y="connsiteY1"/>
                </a:cxn>
                <a:cxn ang="0">
                  <a:pos x="connsiteX2" y="connsiteY2"/>
                </a:cxn>
                <a:cxn ang="0">
                  <a:pos x="connsiteX3" y="connsiteY3"/>
                </a:cxn>
              </a:cxnLst>
              <a:rect l="l" t="t" r="r" b="b"/>
              <a:pathLst>
                <a:path w="734853" h="19049">
                  <a:moveTo>
                    <a:pt x="0" y="0"/>
                  </a:moveTo>
                  <a:lnTo>
                    <a:pt x="734854" y="0"/>
                  </a:lnTo>
                  <a:lnTo>
                    <a:pt x="734854" y="19050"/>
                  </a:lnTo>
                  <a:lnTo>
                    <a:pt x="0" y="19050"/>
                  </a:lnTo>
                  <a:close/>
                </a:path>
              </a:pathLst>
            </a:custGeom>
            <a:solidFill>
              <a:schemeClr val="bg1"/>
            </a:solidFill>
            <a:ln w="3175" cap="flat">
              <a:solidFill>
                <a:schemeClr val="bg1"/>
              </a:solidFill>
              <a:prstDash val="solid"/>
              <a:miter/>
            </a:ln>
          </p:spPr>
          <p:txBody>
            <a:bodyPr rtlCol="0" anchor="ctr"/>
            <a:lstStyle/>
            <a:p>
              <a:endParaRPr lang="en-US" dirty="0"/>
            </a:p>
          </p:txBody>
        </p:sp>
        <p:cxnSp>
          <p:nvCxnSpPr>
            <p:cNvPr id="20" name="Straight Connector 19">
              <a:extLst>
                <a:ext uri="{FF2B5EF4-FFF2-40B4-BE49-F238E27FC236}">
                  <a16:creationId xmlns:a16="http://schemas.microsoft.com/office/drawing/2014/main" id="{03C3E752-A506-4A5E-A907-CAEBDA95F961}"/>
                </a:ext>
              </a:extLst>
            </p:cNvPr>
            <p:cNvCxnSpPr/>
            <p:nvPr userDrawn="1"/>
          </p:nvCxnSpPr>
          <p:spPr>
            <a:xfrm>
              <a:off x="176782" y="3016529"/>
              <a:ext cx="0" cy="1051560"/>
            </a:xfrm>
            <a:prstGeom prst="line">
              <a:avLst/>
            </a:prstGeom>
            <a:ln w="3175">
              <a:solidFill>
                <a:schemeClr val="bg1">
                  <a:alpha val="49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869742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3_Divider">
    <p:spTree>
      <p:nvGrpSpPr>
        <p:cNvPr id="1" name=""/>
        <p:cNvGrpSpPr/>
        <p:nvPr/>
      </p:nvGrpSpPr>
      <p:grpSpPr>
        <a:xfrm>
          <a:off x="0" y="0"/>
          <a:ext cx="0" cy="0"/>
          <a:chOff x="0" y="0"/>
          <a:chExt cx="0" cy="0"/>
        </a:xfrm>
      </p:grpSpPr>
      <p:pic>
        <p:nvPicPr>
          <p:cNvPr id="13" name="Picture 12" descr="Background pattern&#10;&#10;Description automatically generated">
            <a:extLst>
              <a:ext uri="{FF2B5EF4-FFF2-40B4-BE49-F238E27FC236}">
                <a16:creationId xmlns:a16="http://schemas.microsoft.com/office/drawing/2014/main" id="{E8DB86CA-D14E-4B53-BA61-EA587191FB4D}"/>
              </a:ext>
            </a:extLst>
          </p:cNvPr>
          <p:cNvPicPr>
            <a:picLocks noChangeAspect="1"/>
          </p:cNvPicPr>
          <p:nvPr userDrawn="1"/>
        </p:nvPicPr>
        <p:blipFill rotWithShape="1">
          <a:blip r:embed="rId2">
            <a:alphaModFix amt="30000"/>
            <a:extLst>
              <a:ext uri="{28A0092B-C50C-407E-A947-70E740481C1C}">
                <a14:useLocalDpi xmlns:a14="http://schemas.microsoft.com/office/drawing/2010/main" val="0"/>
              </a:ext>
            </a:extLst>
          </a:blip>
          <a:srcRect l="5974" t="11245" b="4417"/>
          <a:stretch/>
        </p:blipFill>
        <p:spPr>
          <a:xfrm>
            <a:off x="-24384" y="0"/>
            <a:ext cx="12233159" cy="6857999"/>
          </a:xfrm>
          <a:prstGeom prst="rect">
            <a:avLst/>
          </a:prstGeom>
        </p:spPr>
      </p:pic>
      <p:sp>
        <p:nvSpPr>
          <p:cNvPr id="25" name="Rectangle: Rounded Corners 24">
            <a:extLst>
              <a:ext uri="{FF2B5EF4-FFF2-40B4-BE49-F238E27FC236}">
                <a16:creationId xmlns:a16="http://schemas.microsoft.com/office/drawing/2014/main" id="{2B86D6A8-93D9-4C96-8C7F-D7EAEC83A61E}"/>
              </a:ext>
            </a:extLst>
          </p:cNvPr>
          <p:cNvSpPr/>
          <p:nvPr userDrawn="1"/>
        </p:nvSpPr>
        <p:spPr>
          <a:xfrm rot="18679580">
            <a:off x="5571697" y="2250091"/>
            <a:ext cx="5236260" cy="1832698"/>
          </a:xfrm>
          <a:prstGeom prst="roundRect">
            <a:avLst/>
          </a:prstGeom>
          <a:solidFill>
            <a:srgbClr val="F8F9FA">
              <a:alpha val="64000"/>
            </a:srgbClr>
          </a:solidFill>
          <a:ln>
            <a:noFill/>
          </a:ln>
          <a:effectLst>
            <a:softEdge rad="44450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dirty="0">
              <a:solidFill>
                <a:schemeClr val="bg1"/>
              </a:solidFill>
            </a:endParaRPr>
          </a:p>
        </p:txBody>
      </p:sp>
      <p:sp>
        <p:nvSpPr>
          <p:cNvPr id="22" name="Title 21"/>
          <p:cNvSpPr>
            <a:spLocks noGrp="1"/>
          </p:cNvSpPr>
          <p:nvPr>
            <p:ph type="title" hasCustomPrompt="1"/>
          </p:nvPr>
        </p:nvSpPr>
        <p:spPr bwMode="gray">
          <a:xfrm>
            <a:off x="2665328" y="3082751"/>
            <a:ext cx="8869680" cy="692497"/>
          </a:xfrm>
        </p:spPr>
        <p:txBody>
          <a:bodyPr vert="horz" lIns="0" tIns="0" rIns="0" bIns="0" rtlCol="0" anchor="ctr" anchorCtr="0">
            <a:spAutoFit/>
          </a:bodyPr>
          <a:lstStyle>
            <a:lvl1pPr>
              <a:lnSpc>
                <a:spcPct val="100000"/>
              </a:lnSpc>
              <a:defRPr lang="en-US" sz="5000" dirty="0"/>
            </a:lvl1pPr>
          </a:lstStyle>
          <a:p>
            <a:pPr marL="0" lvl="0">
              <a:lnSpc>
                <a:spcPct val="90000"/>
              </a:lnSpc>
              <a:spcBef>
                <a:spcPts val="1200"/>
              </a:spcBef>
            </a:pPr>
            <a:r>
              <a:rPr lang="en-US" dirty="0"/>
              <a:t>Divider – 3 lines of text</a:t>
            </a:r>
          </a:p>
        </p:txBody>
      </p:sp>
      <p:grpSp>
        <p:nvGrpSpPr>
          <p:cNvPr id="2" name="Group 1">
            <a:extLst>
              <a:ext uri="{FF2B5EF4-FFF2-40B4-BE49-F238E27FC236}">
                <a16:creationId xmlns:a16="http://schemas.microsoft.com/office/drawing/2014/main" id="{8314FC01-330E-4910-9C2B-2E41A9074A44}"/>
              </a:ext>
            </a:extLst>
          </p:cNvPr>
          <p:cNvGrpSpPr/>
          <p:nvPr userDrawn="1"/>
        </p:nvGrpSpPr>
        <p:grpSpPr>
          <a:xfrm>
            <a:off x="0" y="2426267"/>
            <a:ext cx="2451100" cy="2005466"/>
            <a:chOff x="0" y="2361678"/>
            <a:chExt cx="2451100" cy="2005466"/>
          </a:xfrm>
        </p:grpSpPr>
        <p:sp>
          <p:nvSpPr>
            <p:cNvPr id="15" name="Rectangle 14">
              <a:extLst>
                <a:ext uri="{FF2B5EF4-FFF2-40B4-BE49-F238E27FC236}">
                  <a16:creationId xmlns:a16="http://schemas.microsoft.com/office/drawing/2014/main" id="{22EED636-AB3A-469B-A4E2-02308B8ADAA6}"/>
                </a:ext>
              </a:extLst>
            </p:cNvPr>
            <p:cNvSpPr/>
            <p:nvPr userDrawn="1"/>
          </p:nvSpPr>
          <p:spPr>
            <a:xfrm>
              <a:off x="0" y="2361678"/>
              <a:ext cx="2451100" cy="200546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s-PE" dirty="0">
                <a:solidFill>
                  <a:schemeClr val="bg1"/>
                </a:solidFill>
              </a:endParaRPr>
            </a:p>
          </p:txBody>
        </p:sp>
        <p:sp>
          <p:nvSpPr>
            <p:cNvPr id="30" name="Freeform: Shape 29">
              <a:extLst>
                <a:ext uri="{FF2B5EF4-FFF2-40B4-BE49-F238E27FC236}">
                  <a16:creationId xmlns:a16="http://schemas.microsoft.com/office/drawing/2014/main" id="{55F8FE89-DBDD-4562-8330-516508678216}"/>
                </a:ext>
              </a:extLst>
            </p:cNvPr>
            <p:cNvSpPr/>
            <p:nvPr userDrawn="1"/>
          </p:nvSpPr>
          <p:spPr>
            <a:xfrm rot="16200000" flipH="1">
              <a:off x="310000" y="2313229"/>
              <a:ext cx="4756" cy="274320"/>
            </a:xfrm>
            <a:custGeom>
              <a:avLst/>
              <a:gdLst>
                <a:gd name="connsiteX0" fmla="*/ 0 w 19050"/>
                <a:gd name="connsiteY0" fmla="*/ 0 h 732567"/>
                <a:gd name="connsiteX1" fmla="*/ 19050 w 19050"/>
                <a:gd name="connsiteY1" fmla="*/ 0 h 732567"/>
                <a:gd name="connsiteX2" fmla="*/ 19050 w 19050"/>
                <a:gd name="connsiteY2" fmla="*/ 732568 h 732567"/>
                <a:gd name="connsiteX3" fmla="*/ 0 w 19050"/>
                <a:gd name="connsiteY3" fmla="*/ 732568 h 732567"/>
              </a:gdLst>
              <a:ahLst/>
              <a:cxnLst>
                <a:cxn ang="0">
                  <a:pos x="connsiteX0" y="connsiteY0"/>
                </a:cxn>
                <a:cxn ang="0">
                  <a:pos x="connsiteX1" y="connsiteY1"/>
                </a:cxn>
                <a:cxn ang="0">
                  <a:pos x="connsiteX2" y="connsiteY2"/>
                </a:cxn>
                <a:cxn ang="0">
                  <a:pos x="connsiteX3" y="connsiteY3"/>
                </a:cxn>
              </a:cxnLst>
              <a:rect l="l" t="t" r="r" b="b"/>
              <a:pathLst>
                <a:path w="19050" h="732567">
                  <a:moveTo>
                    <a:pt x="0" y="0"/>
                  </a:moveTo>
                  <a:lnTo>
                    <a:pt x="19050" y="0"/>
                  </a:lnTo>
                  <a:lnTo>
                    <a:pt x="19050" y="732568"/>
                  </a:lnTo>
                  <a:lnTo>
                    <a:pt x="0" y="732568"/>
                  </a:lnTo>
                  <a:close/>
                </a:path>
              </a:pathLst>
            </a:custGeom>
            <a:solidFill>
              <a:schemeClr val="bg1"/>
            </a:solidFill>
            <a:ln w="9525" cap="flat">
              <a:solidFill>
                <a:schemeClr val="bg1"/>
              </a:solidFill>
              <a:prstDash val="solid"/>
              <a:miter/>
            </a:ln>
          </p:spPr>
          <p:txBody>
            <a:bodyPr rtlCol="0" anchor="ctr"/>
            <a:lstStyle/>
            <a:p>
              <a:endParaRPr lang="en-US" dirty="0"/>
            </a:p>
          </p:txBody>
        </p:sp>
        <p:pic>
          <p:nvPicPr>
            <p:cNvPr id="32" name="Picture 31">
              <a:extLst>
                <a:ext uri="{FF2B5EF4-FFF2-40B4-BE49-F238E27FC236}">
                  <a16:creationId xmlns:a16="http://schemas.microsoft.com/office/drawing/2014/main" id="{5C723D6E-6981-49D3-9A49-8FECE050A7F2}"/>
                </a:ext>
              </a:extLst>
            </p:cNvPr>
            <p:cNvPicPr>
              <a:picLocks noChangeAspect="1"/>
            </p:cNvPicPr>
            <p:nvPr userDrawn="1"/>
          </p:nvPicPr>
          <p:blipFill rotWithShape="1">
            <a:blip r:embed="rId3" cstate="screen">
              <a:alphaModFix amt="50000"/>
              <a:extLst>
                <a:ext uri="{28A0092B-C50C-407E-A947-70E740481C1C}">
                  <a14:useLocalDpi xmlns:a14="http://schemas.microsoft.com/office/drawing/2010/main"/>
                </a:ext>
              </a:extLst>
            </a:blip>
            <a:srcRect l="47779" r="6346"/>
            <a:stretch/>
          </p:blipFill>
          <p:spPr>
            <a:xfrm>
              <a:off x="1602722" y="2544430"/>
              <a:ext cx="762261" cy="438912"/>
            </a:xfrm>
            <a:prstGeom prst="rect">
              <a:avLst/>
            </a:prstGeom>
          </p:spPr>
        </p:pic>
        <p:sp>
          <p:nvSpPr>
            <p:cNvPr id="19" name="Freeform: Shape 18">
              <a:extLst>
                <a:ext uri="{FF2B5EF4-FFF2-40B4-BE49-F238E27FC236}">
                  <a16:creationId xmlns:a16="http://schemas.microsoft.com/office/drawing/2014/main" id="{06EDB808-7AAB-4360-8904-E5555B7B296E}"/>
                </a:ext>
              </a:extLst>
            </p:cNvPr>
            <p:cNvSpPr/>
            <p:nvPr userDrawn="1"/>
          </p:nvSpPr>
          <p:spPr>
            <a:xfrm rot="16200000" flipH="1">
              <a:off x="82144" y="2532983"/>
              <a:ext cx="182880" cy="4755"/>
            </a:xfrm>
            <a:custGeom>
              <a:avLst/>
              <a:gdLst>
                <a:gd name="connsiteX0" fmla="*/ 0 w 734853"/>
                <a:gd name="connsiteY0" fmla="*/ 0 h 19049"/>
                <a:gd name="connsiteX1" fmla="*/ 734854 w 734853"/>
                <a:gd name="connsiteY1" fmla="*/ 0 h 19049"/>
                <a:gd name="connsiteX2" fmla="*/ 734854 w 734853"/>
                <a:gd name="connsiteY2" fmla="*/ 19050 h 19049"/>
                <a:gd name="connsiteX3" fmla="*/ 0 w 734853"/>
                <a:gd name="connsiteY3" fmla="*/ 19050 h 19049"/>
              </a:gdLst>
              <a:ahLst/>
              <a:cxnLst>
                <a:cxn ang="0">
                  <a:pos x="connsiteX0" y="connsiteY0"/>
                </a:cxn>
                <a:cxn ang="0">
                  <a:pos x="connsiteX1" y="connsiteY1"/>
                </a:cxn>
                <a:cxn ang="0">
                  <a:pos x="connsiteX2" y="connsiteY2"/>
                </a:cxn>
                <a:cxn ang="0">
                  <a:pos x="connsiteX3" y="connsiteY3"/>
                </a:cxn>
              </a:cxnLst>
              <a:rect l="l" t="t" r="r" b="b"/>
              <a:pathLst>
                <a:path w="734853" h="19049">
                  <a:moveTo>
                    <a:pt x="0" y="0"/>
                  </a:moveTo>
                  <a:lnTo>
                    <a:pt x="734854" y="0"/>
                  </a:lnTo>
                  <a:lnTo>
                    <a:pt x="734854" y="19050"/>
                  </a:lnTo>
                  <a:lnTo>
                    <a:pt x="0" y="19050"/>
                  </a:lnTo>
                  <a:close/>
                </a:path>
              </a:pathLst>
            </a:custGeom>
            <a:solidFill>
              <a:schemeClr val="bg1"/>
            </a:solidFill>
            <a:ln w="3175" cap="flat">
              <a:solidFill>
                <a:schemeClr val="bg1"/>
              </a:solidFill>
              <a:prstDash val="solid"/>
              <a:miter/>
            </a:ln>
          </p:spPr>
          <p:txBody>
            <a:bodyPr rtlCol="0" anchor="ctr"/>
            <a:lstStyle/>
            <a:p>
              <a:endParaRPr lang="en-US" dirty="0"/>
            </a:p>
          </p:txBody>
        </p:sp>
        <p:cxnSp>
          <p:nvCxnSpPr>
            <p:cNvPr id="20" name="Straight Connector 19">
              <a:extLst>
                <a:ext uri="{FF2B5EF4-FFF2-40B4-BE49-F238E27FC236}">
                  <a16:creationId xmlns:a16="http://schemas.microsoft.com/office/drawing/2014/main" id="{A2F4CF45-75A1-48BA-9BFE-66AE4C9D0D8E}"/>
                </a:ext>
              </a:extLst>
            </p:cNvPr>
            <p:cNvCxnSpPr/>
            <p:nvPr userDrawn="1"/>
          </p:nvCxnSpPr>
          <p:spPr>
            <a:xfrm>
              <a:off x="176782" y="2579369"/>
              <a:ext cx="0" cy="1783080"/>
            </a:xfrm>
            <a:prstGeom prst="line">
              <a:avLst/>
            </a:prstGeom>
            <a:ln w="3175">
              <a:solidFill>
                <a:schemeClr val="bg1">
                  <a:alpha val="49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608934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90760" y="1711084"/>
            <a:ext cx="5430358" cy="457200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6480336" y="1711084"/>
            <a:ext cx="5359241" cy="4572000"/>
          </a:xfrm>
        </p:spPr>
        <p:txBody>
          <a:bodyPr vert="horz" lIns="0" tIns="0" rIns="0" bIns="0" rtlCol="0">
            <a:noAutofit/>
          </a:bodyPr>
          <a:lstStyle>
            <a:lvl1pPr>
              <a:defRPr kumimoji="0" lang="en-US" b="0" i="0" u="none" strike="noStrike" cap="none" spc="0" normalizeH="0" baseline="0" dirty="0" smtClean="0">
                <a:ln>
                  <a:noFill/>
                </a:ln>
                <a:solidFill>
                  <a:srgbClr val="3D4647"/>
                </a:solidFill>
                <a:effectLst/>
                <a:uLnTx/>
                <a:uFillTx/>
                <a:latin typeface="PTCRaleway"/>
              </a:defRPr>
            </a:lvl1pPr>
            <a:lvl2pPr>
              <a:defRPr kumimoji="0" lang="en-US" b="0" i="0" u="none" strike="noStrike" cap="none" spc="0" normalizeH="0" baseline="0" dirty="0" smtClean="0">
                <a:ln>
                  <a:noFill/>
                </a:ln>
                <a:solidFill>
                  <a:srgbClr val="3D4647"/>
                </a:solidFill>
                <a:effectLst/>
                <a:uLnTx/>
                <a:uFillTx/>
                <a:latin typeface="PTCRaleway"/>
              </a:defRPr>
            </a:lvl2pPr>
            <a:lvl3pPr>
              <a:defRPr kumimoji="0" lang="en-US" b="0" i="0" u="none" strike="noStrike" cap="none" spc="0" normalizeH="0" baseline="0" dirty="0" smtClean="0">
                <a:ln>
                  <a:noFill/>
                </a:ln>
                <a:solidFill>
                  <a:srgbClr val="3D4647"/>
                </a:solidFill>
                <a:effectLst/>
                <a:uLnTx/>
                <a:uFillTx/>
                <a:latin typeface="PTCRaleway"/>
              </a:defRPr>
            </a:lvl3pPr>
            <a:lvl4pPr>
              <a:defRPr kumimoji="0" lang="en-US" b="0" i="0" u="none" strike="noStrike" cap="none" spc="0" normalizeH="0" dirty="0" smtClean="0">
                <a:ln>
                  <a:noFill/>
                </a:ln>
                <a:solidFill>
                  <a:srgbClr val="3D4647"/>
                </a:solidFill>
                <a:effectLst/>
                <a:uLnTx/>
                <a:uFillTx/>
                <a:latin typeface="PTCRaleway"/>
              </a:defRPr>
            </a:lvl4pPr>
            <a:lvl5pPr>
              <a:defRPr kumimoji="0" lang="en-US" b="0" i="0" u="none" strike="noStrike" cap="none" spc="0" normalizeH="0" dirty="0">
                <a:ln>
                  <a:noFill/>
                </a:ln>
                <a:solidFill>
                  <a:srgbClr val="3D4647"/>
                </a:solidFill>
                <a:effectLst/>
                <a:uLnTx/>
                <a:uFillTx/>
                <a:latin typeface="PTCRaleway"/>
              </a:defRPr>
            </a:lvl5pPr>
          </a:lstStyle>
          <a:p>
            <a:pPr lvl="0"/>
            <a:r>
              <a:rPr lang="en-US" dirty="0"/>
              <a:t>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a16="http://schemas.microsoft.com/office/drawing/2014/main" id="{F6E69CCC-D78C-4592-9155-75F363BF7096}"/>
              </a:ext>
            </a:extLst>
          </p:cNvPr>
          <p:cNvSpPr>
            <a:spLocks noGrp="1"/>
          </p:cNvSpPr>
          <p:nvPr>
            <p:ph type="title" hasCustomPrompt="1"/>
          </p:nvPr>
        </p:nvSpPr>
        <p:spPr>
          <a:xfrm>
            <a:off x="490760" y="678174"/>
            <a:ext cx="10789920" cy="369332"/>
          </a:xfrm>
        </p:spPr>
        <p:txBody>
          <a:bodyPr/>
          <a:lstStyle>
            <a:lvl1pPr>
              <a:defRPr/>
            </a:lvl1pPr>
          </a:lstStyle>
          <a:p>
            <a:r>
              <a:rPr lang="en-US" dirty="0"/>
              <a:t>add title – keep it brief</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4" name="Content Placeholder 3"/>
          <p:cNvSpPr>
            <a:spLocks noGrp="1"/>
          </p:cNvSpPr>
          <p:nvPr>
            <p:ph sz="half" idx="2" hasCustomPrompt="1"/>
          </p:nvPr>
        </p:nvSpPr>
        <p:spPr>
          <a:xfrm>
            <a:off x="490759" y="1713756"/>
            <a:ext cx="3383280" cy="457200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Content Placeholder 19"/>
          <p:cNvSpPr>
            <a:spLocks noGrp="1"/>
          </p:cNvSpPr>
          <p:nvPr>
            <p:ph sz="quarter" idx="15" hasCustomPrompt="1"/>
          </p:nvPr>
        </p:nvSpPr>
        <p:spPr>
          <a:xfrm>
            <a:off x="4404630" y="1713756"/>
            <a:ext cx="3383280" cy="457200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Content Placeholder 21"/>
          <p:cNvSpPr>
            <a:spLocks noGrp="1"/>
          </p:cNvSpPr>
          <p:nvPr>
            <p:ph sz="quarter" idx="16" hasCustomPrompt="1"/>
          </p:nvPr>
        </p:nvSpPr>
        <p:spPr>
          <a:xfrm>
            <a:off x="8318500" y="1713756"/>
            <a:ext cx="3383280" cy="457200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a16="http://schemas.microsoft.com/office/drawing/2014/main" id="{058233AF-2ADF-4388-AEFC-06C737873A42}"/>
              </a:ext>
            </a:extLst>
          </p:cNvPr>
          <p:cNvSpPr>
            <a:spLocks noGrp="1"/>
          </p:cNvSpPr>
          <p:nvPr>
            <p:ph type="title" hasCustomPrompt="1"/>
          </p:nvPr>
        </p:nvSpPr>
        <p:spPr>
          <a:xfrm>
            <a:off x="490760" y="678174"/>
            <a:ext cx="10789920" cy="369332"/>
          </a:xfrm>
        </p:spPr>
        <p:txBody>
          <a:bodyPr/>
          <a:lstStyle>
            <a:lvl1pPr>
              <a:defRPr/>
            </a:lvl1pPr>
          </a:lstStyle>
          <a:p>
            <a:r>
              <a:rPr lang="en-US" dirty="0"/>
              <a:t>add title – keep it brief</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5.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4.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3.sv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1.xml"/><Relationship Id="rId30" Type="http://schemas.openxmlformats.org/officeDocument/2006/relationships/image" Target="../media/image1.emf"/><Relationship Id="rId35" Type="http://schemas.openxmlformats.org/officeDocument/2006/relationships/image" Target="../media/image6.png"/><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790734D-BEF5-41A5-9F49-51E157572097}"/>
              </a:ext>
            </a:extLst>
          </p:cNvPr>
          <p:cNvGraphicFramePr>
            <a:graphicFrameLocks noChangeAspect="1"/>
          </p:cNvGraphicFramePr>
          <p:nvPr>
            <p:custDataLst>
              <p:tags r:id="rId27"/>
            </p:custDataLst>
            <p:extLst>
              <p:ext uri="{D42A27DB-BD31-4B8C-83A1-F6EECF244321}">
                <p14:modId xmlns:p14="http://schemas.microsoft.com/office/powerpoint/2010/main" val="35326163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9" imgW="383" imgH="384" progId="TCLayout.ActiveDocument.1">
                  <p:embed/>
                </p:oleObj>
              </mc:Choice>
              <mc:Fallback>
                <p:oleObj name="think-cell Slide" r:id="rId29" imgW="383" imgH="384" progId="TCLayout.ActiveDocument.1">
                  <p:embed/>
                  <p:pic>
                    <p:nvPicPr>
                      <p:cNvPr id="5" name="Object 4" hidden="1">
                        <a:extLst>
                          <a:ext uri="{FF2B5EF4-FFF2-40B4-BE49-F238E27FC236}">
                            <a16:creationId xmlns:a16="http://schemas.microsoft.com/office/drawing/2014/main" id="{E790734D-BEF5-41A5-9F49-51E157572097}"/>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BF71598-268F-4340-989F-8086D0EE7691}"/>
              </a:ext>
            </a:extLst>
          </p:cNvPr>
          <p:cNvSpPr/>
          <p:nvPr>
            <p:custDataLst>
              <p:tags r:id="rId28"/>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lnSpc>
                <a:spcPct val="90000"/>
              </a:lnSpc>
              <a:spcBef>
                <a:spcPts val="800"/>
              </a:spcBef>
            </a:pPr>
            <a:endParaRPr lang="en-US" sz="3200" b="0" i="0" baseline="0" dirty="0">
              <a:solidFill>
                <a:schemeClr val="bg1"/>
              </a:solidFill>
              <a:latin typeface="PTCRaleway" panose="020B0503030101060003" pitchFamily="34" charset="0"/>
              <a:ea typeface="+mj-ea"/>
              <a:cs typeface="+mj-cs"/>
              <a:sym typeface="Century Gothic" panose="020B0502020202020204" pitchFamily="34" charset="0"/>
            </a:endParaRPr>
          </a:p>
        </p:txBody>
      </p:sp>
      <p:sp>
        <p:nvSpPr>
          <p:cNvPr id="2" name="Title Placeholder 1"/>
          <p:cNvSpPr>
            <a:spLocks noGrp="1"/>
          </p:cNvSpPr>
          <p:nvPr>
            <p:ph type="title"/>
          </p:nvPr>
        </p:nvSpPr>
        <p:spPr>
          <a:xfrm>
            <a:off x="490760" y="678174"/>
            <a:ext cx="10789920" cy="369332"/>
          </a:xfrm>
          <a:prstGeom prst="rect">
            <a:avLst/>
          </a:prstGeom>
        </p:spPr>
        <p:txBody>
          <a:bodyPr vert="horz" lIns="0" tIns="0" rIns="0" bIns="0" rtlCol="0" anchor="t" anchorCtr="0">
            <a:spAutoFit/>
          </a:bodyPr>
          <a:lstStyle/>
          <a:p>
            <a:r>
              <a:rPr lang="en-US" dirty="0"/>
              <a:t>add title – keep it brief</a:t>
            </a:r>
          </a:p>
        </p:txBody>
      </p:sp>
      <p:sp>
        <p:nvSpPr>
          <p:cNvPr id="3" name="Text Placeholder 2"/>
          <p:cNvSpPr>
            <a:spLocks noGrp="1"/>
          </p:cNvSpPr>
          <p:nvPr>
            <p:ph type="body" idx="1"/>
          </p:nvPr>
        </p:nvSpPr>
        <p:spPr>
          <a:xfrm>
            <a:off x="496648" y="1709928"/>
            <a:ext cx="10789919" cy="4572000"/>
          </a:xfrm>
          <a:prstGeom prst="rect">
            <a:avLst/>
          </a:prstGeom>
        </p:spPr>
        <p:txBody>
          <a:bodyPr vert="horz" lIns="0" tIns="0" rIns="0" bIns="0" rtlCol="0">
            <a:noAutofit/>
          </a:bodyPr>
          <a:lstStyle/>
          <a:p>
            <a:pPr lvl="0"/>
            <a:r>
              <a:rPr lang="en-US" dirty="0"/>
              <a:t>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Rectangle 18">
            <a:extLst>
              <a:ext uri="{FF2B5EF4-FFF2-40B4-BE49-F238E27FC236}">
                <a16:creationId xmlns:a16="http://schemas.microsoft.com/office/drawing/2014/main" id="{16FE1755-5705-4A27-8F5C-B2D6D4D1E477}"/>
              </a:ext>
            </a:extLst>
          </p:cNvPr>
          <p:cNvSpPr/>
          <p:nvPr userDrawn="1"/>
        </p:nvSpPr>
        <p:spPr>
          <a:xfrm>
            <a:off x="496649" y="389410"/>
            <a:ext cx="955563" cy="45719"/>
          </a:xfrm>
          <a:prstGeom prst="rect">
            <a:avLst/>
          </a:prstGeom>
          <a:solidFill>
            <a:srgbClr val="5AB7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grpSp>
        <p:nvGrpSpPr>
          <p:cNvPr id="7" name="Group 6">
            <a:extLst>
              <a:ext uri="{FF2B5EF4-FFF2-40B4-BE49-F238E27FC236}">
                <a16:creationId xmlns:a16="http://schemas.microsoft.com/office/drawing/2014/main" id="{3A370F2A-B6C2-46DD-AB45-7568E7C8545F}"/>
              </a:ext>
            </a:extLst>
          </p:cNvPr>
          <p:cNvGrpSpPr/>
          <p:nvPr userDrawn="1"/>
        </p:nvGrpSpPr>
        <p:grpSpPr>
          <a:xfrm>
            <a:off x="1524" y="6620256"/>
            <a:ext cx="12188952" cy="237744"/>
            <a:chOff x="0" y="6620256"/>
            <a:chExt cx="12188952" cy="237744"/>
          </a:xfrm>
        </p:grpSpPr>
        <p:sp>
          <p:nvSpPr>
            <p:cNvPr id="40" name="Freeform: Shape 39">
              <a:extLst>
                <a:ext uri="{FF2B5EF4-FFF2-40B4-BE49-F238E27FC236}">
                  <a16:creationId xmlns:a16="http://schemas.microsoft.com/office/drawing/2014/main" id="{0881BC1C-CD55-4318-871B-A8A1D76C4E17}"/>
                </a:ext>
              </a:extLst>
            </p:cNvPr>
            <p:cNvSpPr/>
            <p:nvPr userDrawn="1"/>
          </p:nvSpPr>
          <p:spPr>
            <a:xfrm>
              <a:off x="0" y="6624535"/>
              <a:ext cx="12188952" cy="233465"/>
            </a:xfrm>
            <a:custGeom>
              <a:avLst/>
              <a:gdLst>
                <a:gd name="connsiteX0" fmla="*/ 8949770 w 11969877"/>
                <a:gd name="connsiteY0" fmla="*/ 0 h 233465"/>
                <a:gd name="connsiteX1" fmla="*/ 11969877 w 11969877"/>
                <a:gd name="connsiteY1" fmla="*/ 0 h 233465"/>
                <a:gd name="connsiteX2" fmla="*/ 11969877 w 11969877"/>
                <a:gd name="connsiteY2" fmla="*/ 233465 h 233465"/>
                <a:gd name="connsiteX3" fmla="*/ 9027859 w 11969877"/>
                <a:gd name="connsiteY3" fmla="*/ 233465 h 233465"/>
                <a:gd name="connsiteX4" fmla="*/ 1048596 w 11969877"/>
                <a:gd name="connsiteY4" fmla="*/ 233465 h 233465"/>
                <a:gd name="connsiteX5" fmla="*/ 33436 w 11969877"/>
                <a:gd name="connsiteY5" fmla="*/ 233465 h 233465"/>
                <a:gd name="connsiteX6" fmla="*/ 0 w 11969877"/>
                <a:gd name="connsiteY6" fmla="*/ 233465 h 233465"/>
                <a:gd name="connsiteX7" fmla="*/ 0 w 11969877"/>
                <a:gd name="connsiteY7" fmla="*/ 169375 h 233465"/>
                <a:gd name="connsiteX8" fmla="*/ 0 w 11969877"/>
                <a:gd name="connsiteY8" fmla="*/ 126232 h 233465"/>
                <a:gd name="connsiteX9" fmla="*/ 0 w 11969877"/>
                <a:gd name="connsiteY9" fmla="*/ 109891 h 233465"/>
                <a:gd name="connsiteX10" fmla="*/ 8695556 w 11969877"/>
                <a:gd name="connsiteY10" fmla="*/ 109891 h 233465"/>
                <a:gd name="connsiteX11" fmla="*/ 8949770 w 11969877"/>
                <a:gd name="connsiteY11" fmla="*/ 0 h 233465"/>
                <a:gd name="connsiteX0" fmla="*/ 8949770 w 11969877"/>
                <a:gd name="connsiteY0" fmla="*/ 0 h 233465"/>
                <a:gd name="connsiteX1" fmla="*/ 11969877 w 11969877"/>
                <a:gd name="connsiteY1" fmla="*/ 0 h 233465"/>
                <a:gd name="connsiteX2" fmla="*/ 11969877 w 11969877"/>
                <a:gd name="connsiteY2" fmla="*/ 233465 h 233465"/>
                <a:gd name="connsiteX3" fmla="*/ 9027859 w 11969877"/>
                <a:gd name="connsiteY3" fmla="*/ 233465 h 233465"/>
                <a:gd name="connsiteX4" fmla="*/ 1048596 w 11969877"/>
                <a:gd name="connsiteY4" fmla="*/ 233465 h 233465"/>
                <a:gd name="connsiteX5" fmla="*/ 33436 w 11969877"/>
                <a:gd name="connsiteY5" fmla="*/ 233465 h 233465"/>
                <a:gd name="connsiteX6" fmla="*/ 0 w 11969877"/>
                <a:gd name="connsiteY6" fmla="*/ 233465 h 233465"/>
                <a:gd name="connsiteX7" fmla="*/ 0 w 11969877"/>
                <a:gd name="connsiteY7" fmla="*/ 169375 h 233465"/>
                <a:gd name="connsiteX8" fmla="*/ 0 w 11969877"/>
                <a:gd name="connsiteY8" fmla="*/ 126232 h 233465"/>
                <a:gd name="connsiteX9" fmla="*/ 0 w 11969877"/>
                <a:gd name="connsiteY9" fmla="*/ 109891 h 233465"/>
                <a:gd name="connsiteX10" fmla="*/ 8708028 w 11969877"/>
                <a:gd name="connsiteY10" fmla="*/ 141641 h 233465"/>
                <a:gd name="connsiteX11" fmla="*/ 8949770 w 11969877"/>
                <a:gd name="connsiteY11" fmla="*/ 0 h 233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969877" h="233465">
                  <a:moveTo>
                    <a:pt x="8949770" y="0"/>
                  </a:moveTo>
                  <a:lnTo>
                    <a:pt x="11969877" y="0"/>
                  </a:lnTo>
                  <a:lnTo>
                    <a:pt x="11969877" y="233465"/>
                  </a:lnTo>
                  <a:lnTo>
                    <a:pt x="9027859" y="233465"/>
                  </a:lnTo>
                  <a:lnTo>
                    <a:pt x="1048596" y="233465"/>
                  </a:lnTo>
                  <a:lnTo>
                    <a:pt x="33436" y="233465"/>
                  </a:lnTo>
                  <a:lnTo>
                    <a:pt x="0" y="233465"/>
                  </a:lnTo>
                  <a:lnTo>
                    <a:pt x="0" y="169375"/>
                  </a:lnTo>
                  <a:lnTo>
                    <a:pt x="0" y="126232"/>
                  </a:lnTo>
                  <a:lnTo>
                    <a:pt x="0" y="109891"/>
                  </a:lnTo>
                  <a:lnTo>
                    <a:pt x="8708028" y="141641"/>
                  </a:lnTo>
                  <a:lnTo>
                    <a:pt x="8949770"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sz="1800" dirty="0">
                <a:solidFill>
                  <a:schemeClr val="bg1"/>
                </a:solidFill>
              </a:endParaRPr>
            </a:p>
          </p:txBody>
        </p:sp>
        <p:sp>
          <p:nvSpPr>
            <p:cNvPr id="41" name="Freeform 4">
              <a:extLst>
                <a:ext uri="{FF2B5EF4-FFF2-40B4-BE49-F238E27FC236}">
                  <a16:creationId xmlns:a16="http://schemas.microsoft.com/office/drawing/2014/main" id="{2246A36A-338C-4A4E-A78D-8D2DDB37A05F}"/>
                </a:ext>
              </a:extLst>
            </p:cNvPr>
            <p:cNvSpPr>
              <a:spLocks noChangeAspect="1"/>
            </p:cNvSpPr>
            <p:nvPr userDrawn="1"/>
          </p:nvSpPr>
          <p:spPr>
            <a:xfrm>
              <a:off x="8585655" y="6620256"/>
              <a:ext cx="545655" cy="237744"/>
            </a:xfrm>
            <a:custGeom>
              <a:avLst/>
              <a:gdLst>
                <a:gd name="connsiteX0" fmla="*/ 57150 w 1790700"/>
                <a:gd name="connsiteY0" fmla="*/ 0 h 3086100"/>
                <a:gd name="connsiteX1" fmla="*/ 1790700 w 1790700"/>
                <a:gd name="connsiteY1" fmla="*/ 3086100 h 3086100"/>
                <a:gd name="connsiteX2" fmla="*/ 0 w 1790700"/>
                <a:gd name="connsiteY2" fmla="*/ 3067050 h 3086100"/>
                <a:gd name="connsiteX3" fmla="*/ 0 w 1790700"/>
                <a:gd name="connsiteY3" fmla="*/ 0 h 3086100"/>
                <a:gd name="connsiteX4" fmla="*/ 19050 w 1790700"/>
                <a:gd name="connsiteY4" fmla="*/ 38100 h 3086100"/>
                <a:gd name="connsiteX5" fmla="*/ 19050 w 1790700"/>
                <a:gd name="connsiteY5" fmla="*/ 57150 h 3086100"/>
                <a:gd name="connsiteX0" fmla="*/ 57150 w 1790700"/>
                <a:gd name="connsiteY0" fmla="*/ 0 h 3086100"/>
                <a:gd name="connsiteX1" fmla="*/ 1790700 w 1790700"/>
                <a:gd name="connsiteY1" fmla="*/ 3086100 h 3086100"/>
                <a:gd name="connsiteX2" fmla="*/ 0 w 1790700"/>
                <a:gd name="connsiteY2" fmla="*/ 3067050 h 3086100"/>
                <a:gd name="connsiteX3" fmla="*/ 0 w 1790700"/>
                <a:gd name="connsiteY3" fmla="*/ 0 h 3086100"/>
                <a:gd name="connsiteX4" fmla="*/ 19050 w 1790700"/>
                <a:gd name="connsiteY4" fmla="*/ 38100 h 3086100"/>
                <a:gd name="connsiteX0" fmla="*/ 57150 w 1790700"/>
                <a:gd name="connsiteY0" fmla="*/ 0 h 3086100"/>
                <a:gd name="connsiteX1" fmla="*/ 1790700 w 1790700"/>
                <a:gd name="connsiteY1" fmla="*/ 3086100 h 3086100"/>
                <a:gd name="connsiteX2" fmla="*/ 0 w 1790700"/>
                <a:gd name="connsiteY2" fmla="*/ 3067050 h 3086100"/>
                <a:gd name="connsiteX3" fmla="*/ 0 w 1790700"/>
                <a:gd name="connsiteY3" fmla="*/ 0 h 3086100"/>
                <a:gd name="connsiteX0" fmla="*/ 57150 w 1790700"/>
                <a:gd name="connsiteY0" fmla="*/ 0 h 3086100"/>
                <a:gd name="connsiteX1" fmla="*/ 1790700 w 1790700"/>
                <a:gd name="connsiteY1" fmla="*/ 3086100 h 3086100"/>
                <a:gd name="connsiteX2" fmla="*/ 0 w 1790700"/>
                <a:gd name="connsiteY2" fmla="*/ 3067050 h 3086100"/>
                <a:gd name="connsiteX0" fmla="*/ 0 w 1733550"/>
                <a:gd name="connsiteY0" fmla="*/ 0 h 3086100"/>
                <a:gd name="connsiteX1" fmla="*/ 1733550 w 1733550"/>
                <a:gd name="connsiteY1" fmla="*/ 3086100 h 3086100"/>
                <a:gd name="connsiteX2" fmla="*/ 613087 w 1733550"/>
                <a:gd name="connsiteY2" fmla="*/ 3077523 h 3086100"/>
                <a:gd name="connsiteX0" fmla="*/ 245654 w 1120463"/>
                <a:gd name="connsiteY0" fmla="*/ 0 h 1525705"/>
                <a:gd name="connsiteX1" fmla="*/ 1120463 w 1120463"/>
                <a:gd name="connsiteY1" fmla="*/ 1525705 h 1525705"/>
                <a:gd name="connsiteX2" fmla="*/ 0 w 1120463"/>
                <a:gd name="connsiteY2" fmla="*/ 1517128 h 1525705"/>
                <a:gd name="connsiteX0" fmla="*/ 811167 w 1120463"/>
                <a:gd name="connsiteY0" fmla="*/ 0 h 1211531"/>
                <a:gd name="connsiteX1" fmla="*/ 1120463 w 1120463"/>
                <a:gd name="connsiteY1" fmla="*/ 1211531 h 1211531"/>
                <a:gd name="connsiteX2" fmla="*/ 0 w 1120463"/>
                <a:gd name="connsiteY2" fmla="*/ 1202954 h 1211531"/>
                <a:gd name="connsiteX0" fmla="*/ 874002 w 1183298"/>
                <a:gd name="connsiteY0" fmla="*/ 0 h 1213426"/>
                <a:gd name="connsiteX1" fmla="*/ 1183298 w 1183298"/>
                <a:gd name="connsiteY1" fmla="*/ 1211531 h 1213426"/>
                <a:gd name="connsiteX2" fmla="*/ 0 w 1183298"/>
                <a:gd name="connsiteY2" fmla="*/ 1213426 h 1213426"/>
                <a:gd name="connsiteX0" fmla="*/ 857693 w 1166989"/>
                <a:gd name="connsiteY0" fmla="*/ 0 h 1213426"/>
                <a:gd name="connsiteX1" fmla="*/ 1166989 w 1166989"/>
                <a:gd name="connsiteY1" fmla="*/ 1211531 h 1213426"/>
                <a:gd name="connsiteX2" fmla="*/ 0 w 1166989"/>
                <a:gd name="connsiteY2" fmla="*/ 1213426 h 1213426"/>
                <a:gd name="connsiteX0" fmla="*/ 1062735 w 1166989"/>
                <a:gd name="connsiteY0" fmla="*/ 0 h 857667"/>
                <a:gd name="connsiteX1" fmla="*/ 1166989 w 1166989"/>
                <a:gd name="connsiteY1" fmla="*/ 855772 h 857667"/>
                <a:gd name="connsiteX2" fmla="*/ 0 w 1166989"/>
                <a:gd name="connsiteY2" fmla="*/ 857667 h 857667"/>
                <a:gd name="connsiteX0" fmla="*/ 1037104 w 1166989"/>
                <a:gd name="connsiteY0" fmla="*/ 0 h 928818"/>
                <a:gd name="connsiteX1" fmla="*/ 1166989 w 1166989"/>
                <a:gd name="connsiteY1" fmla="*/ 926923 h 928818"/>
                <a:gd name="connsiteX2" fmla="*/ 0 w 1166989"/>
                <a:gd name="connsiteY2" fmla="*/ 928818 h 928818"/>
                <a:gd name="connsiteX0" fmla="*/ 1037104 w 1037104"/>
                <a:gd name="connsiteY0" fmla="*/ 0 h 962499"/>
                <a:gd name="connsiteX1" fmla="*/ 791077 w 1037104"/>
                <a:gd name="connsiteY1" fmla="*/ 962499 h 962499"/>
                <a:gd name="connsiteX2" fmla="*/ 0 w 1037104"/>
                <a:gd name="connsiteY2" fmla="*/ 928818 h 962499"/>
                <a:gd name="connsiteX0" fmla="*/ 1037104 w 1037104"/>
                <a:gd name="connsiteY0" fmla="*/ 0 h 962499"/>
                <a:gd name="connsiteX1" fmla="*/ 791077 w 1037104"/>
                <a:gd name="connsiteY1" fmla="*/ 962499 h 962499"/>
                <a:gd name="connsiteX2" fmla="*/ 0 w 1037104"/>
                <a:gd name="connsiteY2" fmla="*/ 955031 h 962499"/>
                <a:gd name="connsiteX0" fmla="*/ 1046547 w 1046547"/>
                <a:gd name="connsiteY0" fmla="*/ 0 h 949391"/>
                <a:gd name="connsiteX1" fmla="*/ 791077 w 1046547"/>
                <a:gd name="connsiteY1" fmla="*/ 949391 h 949391"/>
                <a:gd name="connsiteX2" fmla="*/ 0 w 1046547"/>
                <a:gd name="connsiteY2" fmla="*/ 941923 h 949391"/>
              </a:gdLst>
              <a:ahLst/>
              <a:cxnLst>
                <a:cxn ang="0">
                  <a:pos x="connsiteX0" y="connsiteY0"/>
                </a:cxn>
                <a:cxn ang="0">
                  <a:pos x="connsiteX1" y="connsiteY1"/>
                </a:cxn>
                <a:cxn ang="0">
                  <a:pos x="connsiteX2" y="connsiteY2"/>
                </a:cxn>
              </a:cxnLst>
              <a:rect l="l" t="t" r="r" b="b"/>
              <a:pathLst>
                <a:path w="1046547" h="949391">
                  <a:moveTo>
                    <a:pt x="1046547" y="0"/>
                  </a:moveTo>
                  <a:lnTo>
                    <a:pt x="791077" y="949391"/>
                  </a:lnTo>
                  <a:lnTo>
                    <a:pt x="0" y="941923"/>
                  </a:lnTo>
                </a:path>
              </a:pathLst>
            </a:custGeom>
            <a:gradFill>
              <a:gsLst>
                <a:gs pos="35000">
                  <a:srgbClr val="6CC04A"/>
                </a:gs>
                <a:gs pos="100000">
                  <a:schemeClr val="bg2">
                    <a:lumMod val="60000"/>
                    <a:lumOff val="4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grpSp>
      <p:sp>
        <p:nvSpPr>
          <p:cNvPr id="42" name="Rectangle 6">
            <a:extLst>
              <a:ext uri="{FF2B5EF4-FFF2-40B4-BE49-F238E27FC236}">
                <a16:creationId xmlns:a16="http://schemas.microsoft.com/office/drawing/2014/main" id="{41100F82-632B-48C0-A654-4167594CCEBF}"/>
              </a:ext>
            </a:extLst>
          </p:cNvPr>
          <p:cNvSpPr txBox="1">
            <a:spLocks noChangeArrowheads="1"/>
          </p:cNvSpPr>
          <p:nvPr userDrawn="1"/>
        </p:nvSpPr>
        <p:spPr bwMode="ltGray">
          <a:xfrm>
            <a:off x="11567159" y="6679711"/>
            <a:ext cx="452825" cy="12311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914400" eaLnBrk="0" fontAlgn="base" latinLnBrk="0" hangingPunct="0">
              <a:lnSpc>
                <a:spcPct val="100000"/>
              </a:lnSpc>
              <a:spcBef>
                <a:spcPct val="0"/>
              </a:spcBef>
              <a:spcAft>
                <a:spcPct val="0"/>
              </a:spcAft>
              <a:buClrTx/>
              <a:buSzTx/>
              <a:buFontTx/>
              <a:buNone/>
              <a:tabLst/>
              <a:defRPr/>
            </a:pPr>
            <a:fld id="{8D7874BA-B114-4D1F-A449-70AD1C45E88A}" type="slidenum">
              <a:rPr kumimoji="0" lang="en-US" sz="800" b="0" i="0" u="none" strike="noStrike" kern="0" cap="none" spc="0" normalizeH="0" baseline="0" noProof="0" smtClean="0">
                <a:ln>
                  <a:noFill/>
                </a:ln>
                <a:solidFill>
                  <a:schemeClr val="bg2">
                    <a:lumMod val="20000"/>
                    <a:lumOff val="80000"/>
                  </a:schemeClr>
                </a:solidFill>
                <a:effectLst/>
                <a:uLnTx/>
                <a:uFillTx/>
                <a:ea typeface="MS PGothic" pitchFamily="34" charset="-128"/>
              </a:rPr>
              <a:pPr marL="0" marR="0" lvl="0" indent="0" algn="r" defTabSz="914400" eaLnBrk="0" fontAlgn="base" latinLnBrk="0" hangingPunct="0">
                <a:lnSpc>
                  <a:spcPct val="100000"/>
                </a:lnSpc>
                <a:spcBef>
                  <a:spcPct val="0"/>
                </a:spcBef>
                <a:spcAft>
                  <a:spcPct val="0"/>
                </a:spcAft>
                <a:buClrTx/>
                <a:buSzTx/>
                <a:buFontTx/>
                <a:buNone/>
                <a:tabLst/>
                <a:defRPr/>
              </a:pPr>
              <a:t>‹#›</a:t>
            </a:fld>
            <a:endParaRPr kumimoji="0" lang="en-US" sz="800" b="0" i="0" u="none" strike="noStrike" kern="0" cap="none" spc="0" normalizeH="0" baseline="0" noProof="0" dirty="0">
              <a:ln>
                <a:noFill/>
              </a:ln>
              <a:solidFill>
                <a:schemeClr val="bg2">
                  <a:lumMod val="20000"/>
                  <a:lumOff val="80000"/>
                </a:schemeClr>
              </a:solidFill>
              <a:effectLst/>
              <a:uLnTx/>
              <a:uFillTx/>
              <a:ea typeface="MS PGothic" pitchFamily="34" charset="-128"/>
            </a:endParaRPr>
          </a:p>
        </p:txBody>
      </p:sp>
    </p:spTree>
  </p:cSld>
  <p:clrMap bg1="lt1" tx1="dk1" bg2="lt2" tx2="dk2" accent1="accent1" accent2="accent2" accent3="accent3" accent4="accent4" accent5="accent5" accent6="accent6" hlink="hlink" folHlink="folHlink"/>
  <p:sldLayoutIdLst>
    <p:sldLayoutId id="2147484056" r:id="rId1"/>
    <p:sldLayoutId id="2147483650" r:id="rId2"/>
    <p:sldLayoutId id="2147484057" r:id="rId3"/>
    <p:sldLayoutId id="2147484059" r:id="rId4"/>
    <p:sldLayoutId id="2147483998" r:id="rId5"/>
    <p:sldLayoutId id="2147483999" r:id="rId6"/>
    <p:sldLayoutId id="2147484000" r:id="rId7"/>
    <p:sldLayoutId id="2147483652" r:id="rId8"/>
    <p:sldLayoutId id="2147483653" r:id="rId9"/>
    <p:sldLayoutId id="2147483654" r:id="rId10"/>
    <p:sldLayoutId id="2147484061" r:id="rId11"/>
    <p:sldLayoutId id="2147483938" r:id="rId12"/>
    <p:sldLayoutId id="2147483972" r:id="rId13"/>
    <p:sldLayoutId id="2147483963" r:id="rId14"/>
    <p:sldLayoutId id="2147483953" r:id="rId15"/>
    <p:sldLayoutId id="2147484001" r:id="rId16"/>
    <p:sldLayoutId id="2147484002" r:id="rId17"/>
    <p:sldLayoutId id="2147483971" r:id="rId18"/>
    <p:sldLayoutId id="2147483956" r:id="rId19"/>
    <p:sldLayoutId id="2147483992" r:id="rId20"/>
    <p:sldLayoutId id="2147484060" r:id="rId21"/>
    <p:sldLayoutId id="2147484054" r:id="rId22"/>
    <p:sldLayoutId id="2147484030" r:id="rId23"/>
    <p:sldLayoutId id="2147484028" r:id="rId24"/>
    <p:sldLayoutId id="2147483701" r:id="rId2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1086775" rtl="0" eaLnBrk="1" latinLnBrk="0" hangingPunct="1">
        <a:lnSpc>
          <a:spcPct val="80000"/>
        </a:lnSpc>
        <a:spcBef>
          <a:spcPct val="0"/>
        </a:spcBef>
        <a:buNone/>
        <a:defRPr sz="3000" b="1" kern="1200" cap="all" baseline="0">
          <a:solidFill>
            <a:schemeClr val="tx1"/>
          </a:solidFill>
          <a:latin typeface="+mj-lt"/>
          <a:ea typeface="+mj-ea"/>
          <a:cs typeface="+mj-cs"/>
        </a:defRPr>
      </a:lvl1pPr>
    </p:titleStyle>
    <p:bodyStyle>
      <a:lvl1pPr marL="342900" indent="-342900" algn="l" defTabSz="1086775" rtl="0" eaLnBrk="1" latinLnBrk="0" hangingPunct="1">
        <a:lnSpc>
          <a:spcPct val="90000"/>
        </a:lnSpc>
        <a:spcBef>
          <a:spcPts val="1800"/>
        </a:spcBef>
        <a:buClr>
          <a:schemeClr val="bg2"/>
        </a:buClr>
        <a:buFontTx/>
        <a:buBlip>
          <a:blip r:embed="rId31">
            <a:extLst>
              <a:ext uri="{96DAC541-7B7A-43D3-8B79-37D633B846F1}">
                <asvg:svgBlip xmlns:asvg="http://schemas.microsoft.com/office/drawing/2016/SVG/main" r:embed="rId32"/>
              </a:ext>
            </a:extLst>
          </a:blip>
        </a:buBlip>
        <a:defRPr sz="2400" kern="1200">
          <a:solidFill>
            <a:schemeClr val="tx1"/>
          </a:solidFill>
          <a:latin typeface="+mn-lt"/>
          <a:ea typeface="+mn-ea"/>
          <a:cs typeface="+mn-cs"/>
        </a:defRPr>
      </a:lvl1pPr>
      <a:lvl2pPr marL="640080" indent="-274320" algn="l" defTabSz="1086775" rtl="0" eaLnBrk="1" latinLnBrk="0" hangingPunct="1">
        <a:lnSpc>
          <a:spcPct val="90000"/>
        </a:lnSpc>
        <a:spcBef>
          <a:spcPts val="400"/>
        </a:spcBef>
        <a:spcAft>
          <a:spcPts val="0"/>
        </a:spcAft>
        <a:buClr>
          <a:schemeClr val="tx1"/>
        </a:buClr>
        <a:buSzPct val="100000"/>
        <a:buFontTx/>
        <a:buBlip>
          <a:blip r:embed="rId33"/>
        </a:buBlip>
        <a:defRPr sz="2000" kern="1200">
          <a:solidFill>
            <a:schemeClr val="tx1"/>
          </a:solidFill>
          <a:latin typeface="+mn-lt"/>
          <a:ea typeface="+mn-ea"/>
          <a:cs typeface="+mn-cs"/>
        </a:defRPr>
      </a:lvl2pPr>
      <a:lvl3pPr marL="932688" indent="-274320" algn="l" defTabSz="1290546" rtl="0" eaLnBrk="1" latinLnBrk="0" hangingPunct="1">
        <a:lnSpc>
          <a:spcPct val="90000"/>
        </a:lnSpc>
        <a:spcBef>
          <a:spcPts val="200"/>
        </a:spcBef>
        <a:spcAft>
          <a:spcPts val="0"/>
        </a:spcAft>
        <a:buClr>
          <a:schemeClr val="tx1"/>
        </a:buClr>
        <a:buFontTx/>
        <a:buBlip>
          <a:blip r:embed="rId34"/>
        </a:buBlip>
        <a:defRPr sz="1800" kern="1200">
          <a:solidFill>
            <a:schemeClr val="tx1"/>
          </a:solidFill>
          <a:latin typeface="+mn-lt"/>
          <a:ea typeface="+mn-ea"/>
          <a:cs typeface="+mn-cs"/>
        </a:defRPr>
      </a:lvl3pPr>
      <a:lvl4pPr marL="1188720" indent="-228600" algn="l" defTabSz="1086775" rtl="0" eaLnBrk="1" latinLnBrk="0" hangingPunct="1">
        <a:lnSpc>
          <a:spcPct val="90000"/>
        </a:lnSpc>
        <a:spcBef>
          <a:spcPts val="200"/>
        </a:spcBef>
        <a:spcAft>
          <a:spcPts val="0"/>
        </a:spcAft>
        <a:buClr>
          <a:schemeClr val="tx1"/>
        </a:buClr>
        <a:buSzPct val="100000"/>
        <a:buFontTx/>
        <a:buBlip>
          <a:blip r:embed="rId35"/>
        </a:buBlip>
        <a:tabLst/>
        <a:defRPr sz="1600" kern="1200" baseline="0">
          <a:solidFill>
            <a:schemeClr val="tx1"/>
          </a:solidFill>
          <a:latin typeface="+mn-lt"/>
          <a:ea typeface="+mn-ea"/>
          <a:cs typeface="+mn-cs"/>
        </a:defRPr>
      </a:lvl4pPr>
      <a:lvl5pPr marL="1417320" indent="-228600" algn="l" defTabSz="1086775" rtl="0" eaLnBrk="1" latinLnBrk="0" hangingPunct="1">
        <a:lnSpc>
          <a:spcPct val="90000"/>
        </a:lnSpc>
        <a:spcBef>
          <a:spcPts val="200"/>
        </a:spcBef>
        <a:spcAft>
          <a:spcPts val="0"/>
        </a:spcAft>
        <a:buClr>
          <a:schemeClr val="tx1"/>
        </a:buClr>
        <a:buFontTx/>
        <a:buBlip>
          <a:blip r:embed="rId34"/>
        </a:buBlip>
        <a:defRPr sz="1400" kern="1200" baseline="0">
          <a:solidFill>
            <a:schemeClr val="tx1"/>
          </a:solidFill>
          <a:latin typeface="+mn-lt"/>
          <a:ea typeface="+mn-ea"/>
          <a:cs typeface="+mn-cs"/>
        </a:defRPr>
      </a:lvl5pPr>
      <a:lvl6pPr marL="2988632"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2020"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5408"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8796"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en-US"/>
      </a:defPPr>
      <a:lvl1pPr marL="0" algn="l" defTabSz="1086775" rtl="0" eaLnBrk="1" latinLnBrk="0" hangingPunct="1">
        <a:defRPr sz="2200" kern="1200">
          <a:solidFill>
            <a:schemeClr val="tx1"/>
          </a:solidFill>
          <a:latin typeface="+mn-lt"/>
          <a:ea typeface="+mn-ea"/>
          <a:cs typeface="+mn-cs"/>
        </a:defRPr>
      </a:lvl1pPr>
      <a:lvl2pPr marL="543388" algn="l" defTabSz="1086775" rtl="0" eaLnBrk="1" latinLnBrk="0" hangingPunct="1">
        <a:defRPr sz="2200" kern="1200">
          <a:solidFill>
            <a:schemeClr val="tx1"/>
          </a:solidFill>
          <a:latin typeface="+mn-lt"/>
          <a:ea typeface="+mn-ea"/>
          <a:cs typeface="+mn-cs"/>
        </a:defRPr>
      </a:lvl2pPr>
      <a:lvl3pPr marL="1086775" algn="l" defTabSz="1086775" rtl="0" eaLnBrk="1" latinLnBrk="0" hangingPunct="1">
        <a:defRPr sz="2200" kern="1200">
          <a:solidFill>
            <a:schemeClr val="tx1"/>
          </a:solidFill>
          <a:latin typeface="+mn-lt"/>
          <a:ea typeface="+mn-ea"/>
          <a:cs typeface="+mn-cs"/>
        </a:defRPr>
      </a:lvl3pPr>
      <a:lvl4pPr marL="1630163" algn="l" defTabSz="1086775" rtl="0" eaLnBrk="1" latinLnBrk="0" hangingPunct="1">
        <a:defRPr sz="2200" kern="1200">
          <a:solidFill>
            <a:schemeClr val="tx1"/>
          </a:solidFill>
          <a:latin typeface="+mn-lt"/>
          <a:ea typeface="+mn-ea"/>
          <a:cs typeface="+mn-cs"/>
        </a:defRPr>
      </a:lvl4pPr>
      <a:lvl5pPr marL="2173551" algn="l" defTabSz="1086775" rtl="0" eaLnBrk="1" latinLnBrk="0" hangingPunct="1">
        <a:defRPr sz="2200" kern="1200">
          <a:solidFill>
            <a:schemeClr val="tx1"/>
          </a:solidFill>
          <a:latin typeface="+mn-lt"/>
          <a:ea typeface="+mn-ea"/>
          <a:cs typeface="+mn-cs"/>
        </a:defRPr>
      </a:lvl5pPr>
      <a:lvl6pPr marL="2716938" algn="l" defTabSz="1086775" rtl="0" eaLnBrk="1" latinLnBrk="0" hangingPunct="1">
        <a:defRPr sz="2200" kern="1200">
          <a:solidFill>
            <a:schemeClr val="tx1"/>
          </a:solidFill>
          <a:latin typeface="+mn-lt"/>
          <a:ea typeface="+mn-ea"/>
          <a:cs typeface="+mn-cs"/>
        </a:defRPr>
      </a:lvl6pPr>
      <a:lvl7pPr marL="3260326" algn="l" defTabSz="1086775" rtl="0" eaLnBrk="1" latinLnBrk="0" hangingPunct="1">
        <a:defRPr sz="2200" kern="1200">
          <a:solidFill>
            <a:schemeClr val="tx1"/>
          </a:solidFill>
          <a:latin typeface="+mn-lt"/>
          <a:ea typeface="+mn-ea"/>
          <a:cs typeface="+mn-cs"/>
        </a:defRPr>
      </a:lvl7pPr>
      <a:lvl8pPr marL="3803713" algn="l" defTabSz="1086775" rtl="0" eaLnBrk="1" latinLnBrk="0" hangingPunct="1">
        <a:defRPr sz="2200" kern="1200">
          <a:solidFill>
            <a:schemeClr val="tx1"/>
          </a:solidFill>
          <a:latin typeface="+mn-lt"/>
          <a:ea typeface="+mn-ea"/>
          <a:cs typeface="+mn-cs"/>
        </a:defRPr>
      </a:lvl8pPr>
      <a:lvl9pPr marL="4347102" algn="l" defTabSz="1086775" rtl="0" eaLnBrk="1" latinLnBrk="0" hangingPunct="1">
        <a:defRPr sz="22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25.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3" Type="http://schemas.openxmlformats.org/officeDocument/2006/relationships/image" Target="../media/image30.png"/><Relationship Id="rId7" Type="http://schemas.openxmlformats.org/officeDocument/2006/relationships/image" Target="../media/image43.emf"/><Relationship Id="rId2" Type="http://schemas.microsoft.com/office/2018/10/relationships/comments" Target="../comments/modernComment_7FFE5607_2F5E9C7D.xml"/><Relationship Id="rId1" Type="http://schemas.openxmlformats.org/officeDocument/2006/relationships/slideLayout" Target="../slideLayouts/slideLayout10.xml"/><Relationship Id="rId6" Type="http://schemas.openxmlformats.org/officeDocument/2006/relationships/package" Target="../embeddings/Microsoft_Word_Document.docx"/><Relationship Id="rId5" Type="http://schemas.openxmlformats.org/officeDocument/2006/relationships/image" Target="../media/image42.png"/><Relationship Id="rId4" Type="http://schemas.openxmlformats.org/officeDocument/2006/relationships/image" Target="../media/image31.svg"/></Relationships>
</file>

<file path=ppt/slides/_rels/slide12.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image" Target="../media/image31.svg"/><Relationship Id="rId7" Type="http://schemas.openxmlformats.org/officeDocument/2006/relationships/image" Target="../media/image45.png"/><Relationship Id="rId2" Type="http://schemas.openxmlformats.org/officeDocument/2006/relationships/image" Target="../media/image30.png"/><Relationship Id="rId1" Type="http://schemas.openxmlformats.org/officeDocument/2006/relationships/slideLayout" Target="../slideLayouts/slideLayout10.xml"/><Relationship Id="rId6" Type="http://schemas.openxmlformats.org/officeDocument/2006/relationships/image" Target="../media/image44.png"/><Relationship Id="rId5" Type="http://schemas.openxmlformats.org/officeDocument/2006/relationships/image" Target="../media/image33.svg"/><Relationship Id="rId4" Type="http://schemas.openxmlformats.org/officeDocument/2006/relationships/image" Target="../media/image32.png"/></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47.png"/></Relationships>
</file>

<file path=ppt/slides/_rels/slide14.xml.rels><?xml version="1.0" encoding="UTF-8" standalone="yes"?>
<Relationships xmlns="http://schemas.openxmlformats.org/package/2006/relationships"><Relationship Id="rId2" Type="http://schemas.openxmlformats.org/officeDocument/2006/relationships/hyperlink" Target="https://github.com/mvonhasselbach/CreoViewRWExtension/releases" TargetMode="External"/><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35.svg"/><Relationship Id="rId3" Type="http://schemas.openxmlformats.org/officeDocument/2006/relationships/image" Target="../media/image27.svg"/><Relationship Id="rId7" Type="http://schemas.openxmlformats.org/officeDocument/2006/relationships/image" Target="../media/image31.svg"/><Relationship Id="rId12" Type="http://schemas.openxmlformats.org/officeDocument/2006/relationships/image" Target="../media/image34.png"/><Relationship Id="rId2" Type="http://schemas.openxmlformats.org/officeDocument/2006/relationships/image" Target="../media/image26.png"/><Relationship Id="rId1" Type="http://schemas.openxmlformats.org/officeDocument/2006/relationships/slideLayout" Target="../slideLayouts/slideLayout2.xml"/><Relationship Id="rId6" Type="http://schemas.openxmlformats.org/officeDocument/2006/relationships/image" Target="../media/image30.png"/><Relationship Id="rId11" Type="http://schemas.openxmlformats.org/officeDocument/2006/relationships/image" Target="../media/image33.svg"/><Relationship Id="rId5" Type="http://schemas.openxmlformats.org/officeDocument/2006/relationships/image" Target="../media/image29.svg"/><Relationship Id="rId15" Type="http://schemas.openxmlformats.org/officeDocument/2006/relationships/image" Target="../media/image37.svg"/><Relationship Id="rId10" Type="http://schemas.openxmlformats.org/officeDocument/2006/relationships/image" Target="../media/image32.png"/><Relationship Id="rId4" Type="http://schemas.openxmlformats.org/officeDocument/2006/relationships/image" Target="../media/image28.png"/><Relationship Id="rId9" Type="http://schemas.openxmlformats.org/officeDocument/2006/relationships/image" Target="../media/image25.png"/><Relationship Id="rId14" Type="http://schemas.openxmlformats.org/officeDocument/2006/relationships/image" Target="../media/image36.png"/></Relationships>
</file>

<file path=ppt/slides/_rels/slide4.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image" Target="../media/image3.svg"/><Relationship Id="rId7" Type="http://schemas.openxmlformats.org/officeDocument/2006/relationships/image" Target="../media/image38.png"/><Relationship Id="rId2" Type="http://schemas.openxmlformats.org/officeDocument/2006/relationships/image" Target="../media/image2.png"/><Relationship Id="rId1" Type="http://schemas.openxmlformats.org/officeDocument/2006/relationships/slideLayout" Target="../slideLayouts/slideLayout10.xml"/><Relationship Id="rId6" Type="http://schemas.openxmlformats.org/officeDocument/2006/relationships/image" Target="../media/image6.png"/><Relationship Id="rId11" Type="http://schemas.openxmlformats.org/officeDocument/2006/relationships/image" Target="../media/image25.png"/><Relationship Id="rId5" Type="http://schemas.openxmlformats.org/officeDocument/2006/relationships/image" Target="../media/image5.png"/><Relationship Id="rId10" Type="http://schemas.openxmlformats.org/officeDocument/2006/relationships/image" Target="../media/image41.png"/><Relationship Id="rId4" Type="http://schemas.openxmlformats.org/officeDocument/2006/relationships/image" Target="../media/image4.png"/><Relationship Id="rId9" Type="http://schemas.openxmlformats.org/officeDocument/2006/relationships/image" Target="../media/image40.png"/></Relationships>
</file>

<file path=ppt/slides/_rels/slide5.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30.png"/><Relationship Id="rId1" Type="http://schemas.openxmlformats.org/officeDocument/2006/relationships/slideLayout" Target="../slideLayouts/slideLayout10.xml"/><Relationship Id="rId5" Type="http://schemas.openxmlformats.org/officeDocument/2006/relationships/image" Target="../media/image33.svg"/><Relationship Id="rId4" Type="http://schemas.openxmlformats.org/officeDocument/2006/relationships/image" Target="../media/image32.png"/></Relationships>
</file>

<file path=ppt/slides/_rels/slide6.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30.png"/><Relationship Id="rId1" Type="http://schemas.openxmlformats.org/officeDocument/2006/relationships/slideLayout" Target="../slideLayouts/slideLayout10.xml"/><Relationship Id="rId5" Type="http://schemas.openxmlformats.org/officeDocument/2006/relationships/image" Target="../media/image33.svg"/><Relationship Id="rId4" Type="http://schemas.openxmlformats.org/officeDocument/2006/relationships/image" Target="../media/image32.png"/></Relationships>
</file>

<file path=ppt/slides/_rels/slide7.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30.png"/><Relationship Id="rId1" Type="http://schemas.openxmlformats.org/officeDocument/2006/relationships/slideLayout" Target="../slideLayouts/slideLayout10.xml"/><Relationship Id="rId5" Type="http://schemas.openxmlformats.org/officeDocument/2006/relationships/image" Target="../media/image33.svg"/><Relationship Id="rId4" Type="http://schemas.openxmlformats.org/officeDocument/2006/relationships/image" Target="../media/image32.png"/></Relationships>
</file>

<file path=ppt/slides/_rels/slide8.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30.png"/><Relationship Id="rId1" Type="http://schemas.openxmlformats.org/officeDocument/2006/relationships/slideLayout" Target="../slideLayouts/slideLayout10.xml"/><Relationship Id="rId5" Type="http://schemas.openxmlformats.org/officeDocument/2006/relationships/image" Target="../media/image33.svg"/><Relationship Id="rId4" Type="http://schemas.openxmlformats.org/officeDocument/2006/relationships/image" Target="../media/image32.png"/></Relationships>
</file>

<file path=ppt/slides/_rels/slide9.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30.png"/><Relationship Id="rId1" Type="http://schemas.openxmlformats.org/officeDocument/2006/relationships/slideLayout" Target="../slideLayouts/slideLayout10.xml"/><Relationship Id="rId5" Type="http://schemas.openxmlformats.org/officeDocument/2006/relationships/image" Target="../media/image33.svg"/><Relationship Id="rId4" Type="http://schemas.openxmlformats.org/officeDocument/2006/relationships/image" Target="../media/image3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4C9B7F8-F06F-4E9B-95B5-B05974962BF0}"/>
              </a:ext>
            </a:extLst>
          </p:cNvPr>
          <p:cNvSpPr>
            <a:spLocks noGrp="1"/>
          </p:cNvSpPr>
          <p:nvPr>
            <p:ph type="body" sz="quarter" idx="12"/>
          </p:nvPr>
        </p:nvSpPr>
        <p:spPr/>
        <p:txBody>
          <a:bodyPr/>
          <a:lstStyle/>
          <a:p>
            <a:r>
              <a:rPr lang="en-US" dirty="0"/>
              <a:t>12/29/2023</a:t>
            </a:r>
          </a:p>
        </p:txBody>
      </p:sp>
      <p:sp>
        <p:nvSpPr>
          <p:cNvPr id="4" name="Title 3">
            <a:extLst>
              <a:ext uri="{FF2B5EF4-FFF2-40B4-BE49-F238E27FC236}">
                <a16:creationId xmlns:a16="http://schemas.microsoft.com/office/drawing/2014/main" id="{1662E55D-4D82-4AC6-B19F-54FFC4102C35}"/>
              </a:ext>
            </a:extLst>
          </p:cNvPr>
          <p:cNvSpPr>
            <a:spLocks noGrp="1"/>
          </p:cNvSpPr>
          <p:nvPr>
            <p:ph type="ctrTitle"/>
          </p:nvPr>
        </p:nvSpPr>
        <p:spPr>
          <a:xfrm>
            <a:off x="473422" y="2719901"/>
            <a:ext cx="4409826" cy="1043747"/>
          </a:xfrm>
        </p:spPr>
        <p:txBody>
          <a:bodyPr/>
          <a:lstStyle/>
          <a:p>
            <a:r>
              <a:rPr lang="en-US" dirty="0"/>
              <a:t>Component locator</a:t>
            </a:r>
          </a:p>
        </p:txBody>
      </p:sp>
      <p:sp>
        <p:nvSpPr>
          <p:cNvPr id="6" name="Subtitle 5">
            <a:extLst>
              <a:ext uri="{FF2B5EF4-FFF2-40B4-BE49-F238E27FC236}">
                <a16:creationId xmlns:a16="http://schemas.microsoft.com/office/drawing/2014/main" id="{CE314915-6DA6-49E4-AC3D-A0BC07D76337}"/>
              </a:ext>
            </a:extLst>
          </p:cNvPr>
          <p:cNvSpPr>
            <a:spLocks noGrp="1"/>
          </p:cNvSpPr>
          <p:nvPr>
            <p:ph type="subTitle" idx="1"/>
          </p:nvPr>
        </p:nvSpPr>
        <p:spPr/>
        <p:txBody>
          <a:bodyPr/>
          <a:lstStyle/>
          <a:p>
            <a:r>
              <a:rPr lang="en-US" dirty="0"/>
              <a:t>Steve Grey-Wilson</a:t>
            </a:r>
          </a:p>
        </p:txBody>
      </p:sp>
      <p:pic>
        <p:nvPicPr>
          <p:cNvPr id="7" name="Picture 6">
            <a:extLst>
              <a:ext uri="{FF2B5EF4-FFF2-40B4-BE49-F238E27FC236}">
                <a16:creationId xmlns:a16="http://schemas.microsoft.com/office/drawing/2014/main" id="{C7BC9A9C-E237-12BC-1CE5-7EB232BFA367}"/>
              </a:ext>
            </a:extLst>
          </p:cNvPr>
          <p:cNvPicPr>
            <a:picLocks noChangeAspect="1"/>
          </p:cNvPicPr>
          <p:nvPr/>
        </p:nvPicPr>
        <p:blipFill>
          <a:blip r:embed="rId3"/>
          <a:stretch>
            <a:fillRect/>
          </a:stretch>
        </p:blipFill>
        <p:spPr>
          <a:xfrm>
            <a:off x="4038667" y="2779642"/>
            <a:ext cx="4619179" cy="2279691"/>
          </a:xfrm>
          <a:prstGeom prst="rect">
            <a:avLst/>
          </a:prstGeom>
        </p:spPr>
      </p:pic>
      <p:pic>
        <p:nvPicPr>
          <p:cNvPr id="9" name="Picture 8">
            <a:extLst>
              <a:ext uri="{FF2B5EF4-FFF2-40B4-BE49-F238E27FC236}">
                <a16:creationId xmlns:a16="http://schemas.microsoft.com/office/drawing/2014/main" id="{1E6BA177-5C3F-2807-6966-4FAB82CC18F4}"/>
              </a:ext>
            </a:extLst>
          </p:cNvPr>
          <p:cNvPicPr>
            <a:picLocks noChangeAspect="1"/>
          </p:cNvPicPr>
          <p:nvPr/>
        </p:nvPicPr>
        <p:blipFill>
          <a:blip r:embed="rId4"/>
          <a:stretch>
            <a:fillRect/>
          </a:stretch>
        </p:blipFill>
        <p:spPr>
          <a:xfrm>
            <a:off x="3686505" y="5145563"/>
            <a:ext cx="5237208" cy="1338835"/>
          </a:xfrm>
          <a:prstGeom prst="rect">
            <a:avLst/>
          </a:prstGeom>
        </p:spPr>
      </p:pic>
    </p:spTree>
    <p:extLst>
      <p:ext uri="{BB962C8B-B14F-4D97-AF65-F5344CB8AC3E}">
        <p14:creationId xmlns:p14="http://schemas.microsoft.com/office/powerpoint/2010/main" val="792058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61AE92-D55B-D664-0F74-7EF630EB2B92}"/>
              </a:ext>
            </a:extLst>
          </p:cNvPr>
          <p:cNvSpPr>
            <a:spLocks noGrp="1"/>
          </p:cNvSpPr>
          <p:nvPr>
            <p:ph type="title"/>
          </p:nvPr>
        </p:nvSpPr>
        <p:spPr>
          <a:xfrm>
            <a:off x="490760" y="678174"/>
            <a:ext cx="4544378" cy="1126462"/>
          </a:xfrm>
        </p:spPr>
        <p:txBody>
          <a:bodyPr/>
          <a:lstStyle/>
          <a:p>
            <a:r>
              <a:rPr lang="en-US" dirty="0"/>
              <a:t>Work PACKAGE as JSON</a:t>
            </a:r>
            <a:br>
              <a:rPr lang="en-US" dirty="0"/>
            </a:br>
            <a:r>
              <a:rPr lang="en-US" sz="1050" b="0" dirty="0"/>
              <a:t>(this could easily be SXSL, currently we don’t have a </a:t>
            </a:r>
            <a:r>
              <a:rPr lang="en-US" sz="1050" b="0" dirty="0" err="1"/>
              <a:t>sxsl</a:t>
            </a:r>
            <a:r>
              <a:rPr lang="en-US" sz="1050" b="0" dirty="0"/>
              <a:t> generator as the definition is complex and beyond the scope of this POC)</a:t>
            </a:r>
            <a:endParaRPr lang="en-US" b="0" dirty="0"/>
          </a:p>
        </p:txBody>
      </p:sp>
      <p:sp>
        <p:nvSpPr>
          <p:cNvPr id="4" name="TextBox 3">
            <a:extLst>
              <a:ext uri="{FF2B5EF4-FFF2-40B4-BE49-F238E27FC236}">
                <a16:creationId xmlns:a16="http://schemas.microsoft.com/office/drawing/2014/main" id="{D6D490B9-D4B0-ED6B-8720-63A55117F3BB}"/>
              </a:ext>
            </a:extLst>
          </p:cNvPr>
          <p:cNvSpPr txBox="1"/>
          <p:nvPr/>
        </p:nvSpPr>
        <p:spPr>
          <a:xfrm>
            <a:off x="4651170" y="439128"/>
            <a:ext cx="7540830" cy="6263253"/>
          </a:xfrm>
          <a:prstGeom prst="rect">
            <a:avLst/>
          </a:prstGeom>
          <a:noFill/>
          <a:ln w="9525">
            <a:noFill/>
          </a:ln>
        </p:spPr>
        <p:txBody>
          <a:bodyPr wrap="square">
            <a:spAutoFit/>
          </a:bodyPr>
          <a:lstStyle/>
          <a:p>
            <a:pPr lvl="1"/>
            <a:r>
              <a:rPr lang="en-US" sz="800" dirty="0">
                <a:latin typeface="Consolas" panose="020B0609020204030204" pitchFamily="49" charset="0"/>
              </a:rPr>
              <a:t>Title</a:t>
            </a:r>
          </a:p>
          <a:p>
            <a:pPr lvl="1"/>
            <a:r>
              <a:rPr lang="en-US" sz="800" dirty="0">
                <a:latin typeface="Consolas" panose="020B0609020204030204" pitchFamily="49" charset="0"/>
              </a:rPr>
              <a:t>Overview</a:t>
            </a:r>
          </a:p>
          <a:p>
            <a:pPr lvl="1"/>
            <a:r>
              <a:rPr lang="en-US" sz="800" dirty="0">
                <a:latin typeface="Consolas" panose="020B0609020204030204" pitchFamily="49" charset="0"/>
              </a:rPr>
              <a:t>Difficulty</a:t>
            </a:r>
          </a:p>
          <a:p>
            <a:pPr lvl="1"/>
            <a:r>
              <a:rPr lang="en-US" sz="800" dirty="0">
                <a:latin typeface="Consolas" panose="020B0609020204030204" pitchFamily="49" charset="0"/>
              </a:rPr>
              <a:t>Time</a:t>
            </a:r>
          </a:p>
          <a:p>
            <a:pPr lvl="1"/>
            <a:r>
              <a:rPr lang="en-US" sz="800" dirty="0" err="1">
                <a:latin typeface="Consolas" panose="020B0609020204030204" pitchFamily="49" charset="0"/>
              </a:rPr>
              <a:t>WorkID</a:t>
            </a:r>
            <a:endParaRPr lang="en-US" sz="800" dirty="0">
              <a:latin typeface="Consolas" panose="020B0609020204030204" pitchFamily="49" charset="0"/>
            </a:endParaRPr>
          </a:p>
          <a:p>
            <a:pPr lvl="1"/>
            <a:r>
              <a:rPr lang="en-US" sz="800" dirty="0">
                <a:latin typeface="Consolas" panose="020B0609020204030204" pitchFamily="49" charset="0"/>
              </a:rPr>
              <a:t>Models </a:t>
            </a:r>
          </a:p>
          <a:p>
            <a:pPr lvl="1"/>
            <a:r>
              <a:rPr lang="en-US" sz="800" dirty="0" err="1">
                <a:latin typeface="Consolas" panose="020B0609020204030204" pitchFamily="49" charset="0"/>
              </a:rPr>
              <a:t>WorkInstructions</a:t>
            </a:r>
            <a:r>
              <a:rPr lang="en-US" sz="800" dirty="0">
                <a:latin typeface="Consolas" panose="020B0609020204030204" pitchFamily="49" charset="0"/>
              </a:rPr>
              <a:t> 	{</a:t>
            </a:r>
          </a:p>
          <a:p>
            <a:pPr lvl="1"/>
            <a:r>
              <a:rPr lang="en-US" sz="800" dirty="0">
                <a:latin typeface="Consolas" panose="020B0609020204030204" pitchFamily="49" charset="0"/>
              </a:rPr>
              <a:t>            "</a:t>
            </a:r>
            <a:r>
              <a:rPr lang="en-US" sz="800" dirty="0" err="1">
                <a:latin typeface="Consolas" panose="020B0609020204030204" pitchFamily="49" charset="0"/>
              </a:rPr>
              <a:t>StepNumber</a:t>
            </a:r>
            <a:r>
              <a:rPr lang="en-US" sz="800" dirty="0">
                <a:latin typeface="Consolas" panose="020B0609020204030204" pitchFamily="49" charset="0"/>
              </a:rPr>
              <a:t>": "0.0",</a:t>
            </a:r>
          </a:p>
          <a:p>
            <a:pPr lvl="1"/>
            <a:r>
              <a:rPr lang="en-US" sz="800" dirty="0">
                <a:latin typeface="Consolas" panose="020B0609020204030204" pitchFamily="49" charset="0"/>
              </a:rPr>
              <a:t>            "Label1": "Work Order: Rear Window Wiper Motor. As Signal Error",</a:t>
            </a:r>
          </a:p>
          <a:p>
            <a:pPr lvl="1"/>
            <a:r>
              <a:rPr lang="en-US" sz="800" dirty="0">
                <a:latin typeface="Consolas" panose="020B0609020204030204" pitchFamily="49" charset="0"/>
              </a:rPr>
              <a:t>            "Label3": "Time Est.: 1.0",</a:t>
            </a:r>
          </a:p>
          <a:p>
            <a:pPr lvl="1"/>
            <a:r>
              <a:rPr lang="en-US" sz="800" dirty="0">
                <a:latin typeface="Consolas" panose="020B0609020204030204" pitchFamily="49" charset="0"/>
              </a:rPr>
              <a:t>            "Label2": "Difficulty: Medium",</a:t>
            </a:r>
          </a:p>
          <a:p>
            <a:pPr lvl="1"/>
            <a:r>
              <a:rPr lang="en-US" sz="800" dirty="0">
                <a:latin typeface="Consolas" panose="020B0609020204030204" pitchFamily="49" charset="0"/>
              </a:rPr>
              <a:t>            "</a:t>
            </a:r>
            <a:r>
              <a:rPr lang="en-US" sz="800" dirty="0" err="1">
                <a:latin typeface="Consolas" panose="020B0609020204030204" pitchFamily="49" charset="0"/>
              </a:rPr>
              <a:t>WorkID</a:t>
            </a:r>
            <a:r>
              <a:rPr lang="en-US" sz="800" dirty="0">
                <a:latin typeface="Consolas" panose="020B0609020204030204" pitchFamily="49" charset="0"/>
              </a:rPr>
              <a:t>": "WIB1028",</a:t>
            </a:r>
          </a:p>
          <a:p>
            <a:pPr lvl="1"/>
            <a:r>
              <a:rPr lang="en-US" sz="800" dirty="0">
                <a:latin typeface="Consolas" panose="020B0609020204030204" pitchFamily="49" charset="0"/>
              </a:rPr>
              <a:t>            "</a:t>
            </a:r>
            <a:r>
              <a:rPr lang="en-US" sz="800" dirty="0" err="1">
                <a:latin typeface="Consolas" panose="020B0609020204030204" pitchFamily="49" charset="0"/>
              </a:rPr>
              <a:t>StepDetail</a:t>
            </a:r>
            <a:r>
              <a:rPr lang="en-US" sz="800" dirty="0">
                <a:latin typeface="Consolas" panose="020B0609020204030204" pitchFamily="49" charset="0"/>
              </a:rPr>
              <a:t>": "Overview: Rear Window Wiper Motor (As) Signal Error : If you are troubleshooting multiple DTCs, be sure to follow the instructions in B-CAN System Diagnosis Test Mode A"</a:t>
            </a:r>
          </a:p>
          <a:p>
            <a:pPr lvl="1"/>
            <a:r>
              <a:rPr lang="en-US" sz="800" dirty="0">
                <a:latin typeface="Consolas" panose="020B0609020204030204" pitchFamily="49" charset="0"/>
              </a:rPr>
              <a:t>        },</a:t>
            </a:r>
          </a:p>
          <a:p>
            <a:pPr lvl="1"/>
            <a:r>
              <a:rPr lang="en-US" sz="800" dirty="0">
                <a:latin typeface="Consolas" panose="020B0609020204030204" pitchFamily="49" charset="0"/>
              </a:rPr>
              <a:t>{</a:t>
            </a:r>
          </a:p>
          <a:p>
            <a:pPr lvl="1"/>
            <a:r>
              <a:rPr lang="en-US" sz="800" dirty="0">
                <a:latin typeface="Consolas" panose="020B0609020204030204" pitchFamily="49" charset="0"/>
              </a:rPr>
              <a:t>            "</a:t>
            </a:r>
            <a:r>
              <a:rPr lang="en-US" sz="800" dirty="0" err="1">
                <a:latin typeface="Consolas" panose="020B0609020204030204" pitchFamily="49" charset="0"/>
              </a:rPr>
              <a:t>AffectedPartsID</a:t>
            </a:r>
            <a:r>
              <a:rPr lang="en-US" sz="800" dirty="0">
                <a:latin typeface="Consolas" panose="020B0609020204030204" pitchFamily="49" charset="0"/>
              </a:rPr>
              <a:t>": "3KK4EQN7VU",</a:t>
            </a:r>
          </a:p>
          <a:p>
            <a:pPr lvl="1"/>
            <a:r>
              <a:rPr lang="en-US" sz="800" dirty="0">
                <a:latin typeface="Consolas" panose="020B0609020204030204" pitchFamily="49" charset="0"/>
              </a:rPr>
              <a:t>            "</a:t>
            </a:r>
            <a:r>
              <a:rPr lang="en-US" sz="800" dirty="0" err="1">
                <a:latin typeface="Consolas" panose="020B0609020204030204" pitchFamily="49" charset="0"/>
              </a:rPr>
              <a:t>StepNumber</a:t>
            </a:r>
            <a:r>
              <a:rPr lang="en-US" sz="800" dirty="0">
                <a:latin typeface="Consolas" panose="020B0609020204030204" pitchFamily="49" charset="0"/>
              </a:rPr>
              <a:t>": "1.0",</a:t>
            </a:r>
          </a:p>
          <a:p>
            <a:pPr lvl="1"/>
            <a:r>
              <a:rPr lang="en-US" sz="800" dirty="0">
                <a:latin typeface="Consolas" panose="020B0609020204030204" pitchFamily="49" charset="0"/>
              </a:rPr>
              <a:t>            "Label1": "Safety",</a:t>
            </a:r>
          </a:p>
          <a:p>
            <a:pPr lvl="1"/>
            <a:r>
              <a:rPr lang="en-US" sz="800" dirty="0">
                <a:latin typeface="Consolas" panose="020B0609020204030204" pitchFamily="49" charset="0"/>
              </a:rPr>
              <a:t>	  "Label2": "",</a:t>
            </a:r>
          </a:p>
          <a:p>
            <a:pPr lvl="1"/>
            <a:r>
              <a:rPr lang="en-US" sz="800" dirty="0">
                <a:latin typeface="Consolas" panose="020B0609020204030204" pitchFamily="49" charset="0"/>
              </a:rPr>
              <a:t>            "Label3": "",</a:t>
            </a:r>
          </a:p>
          <a:p>
            <a:pPr lvl="1"/>
            <a:endParaRPr lang="en-US" sz="800" dirty="0">
              <a:latin typeface="Consolas" panose="020B0609020204030204" pitchFamily="49" charset="0"/>
            </a:endParaRPr>
          </a:p>
          <a:p>
            <a:pPr lvl="2"/>
            <a:r>
              <a:rPr lang="en-US" sz="800" dirty="0">
                <a:latin typeface="Consolas" panose="020B0609020204030204" pitchFamily="49" charset="0"/>
              </a:rPr>
              <a:t>            "Models": {</a:t>
            </a:r>
          </a:p>
          <a:p>
            <a:pPr lvl="2"/>
            <a:r>
              <a:rPr lang="en-US" sz="800" dirty="0">
                <a:latin typeface="Consolas" panose="020B0609020204030204" pitchFamily="49" charset="0"/>
              </a:rPr>
              <a:t>                "array": [</a:t>
            </a:r>
          </a:p>
          <a:p>
            <a:pPr lvl="2"/>
            <a:r>
              <a:rPr lang="en-US" sz="800" dirty="0">
                <a:latin typeface="Consolas" panose="020B0609020204030204" pitchFamily="49" charset="0"/>
              </a:rPr>
              <a:t>		{</a:t>
            </a:r>
          </a:p>
          <a:p>
            <a:pPr lvl="2"/>
            <a:r>
              <a:rPr lang="en-US" sz="800" dirty="0">
                <a:latin typeface="Consolas" panose="020B0609020204030204" pitchFamily="49" charset="0"/>
              </a:rPr>
              <a:t>                        "path": "/134",</a:t>
            </a:r>
          </a:p>
          <a:p>
            <a:pPr lvl="2"/>
            <a:r>
              <a:rPr lang="en-US" sz="800" dirty="0">
                <a:latin typeface="Consolas" panose="020B0609020204030204" pitchFamily="49" charset="0"/>
              </a:rPr>
              <a:t>                        "model": "</a:t>
            </a:r>
            <a:r>
              <a:rPr lang="en-US" sz="800" dirty="0" err="1">
                <a:latin typeface="Consolas" panose="020B0609020204030204" pitchFamily="49" charset="0"/>
              </a:rPr>
              <a:t>ap_rear_wiper_motor</a:t>
            </a:r>
            <a:r>
              <a:rPr lang="en-US" sz="800" dirty="0">
                <a:latin typeface="Consolas" panose="020B0609020204030204" pitchFamily="49" charset="0"/>
              </a:rPr>
              <a:t>"</a:t>
            </a:r>
          </a:p>
          <a:p>
            <a:pPr lvl="2"/>
            <a:r>
              <a:rPr lang="en-US" sz="800" dirty="0">
                <a:latin typeface="Consolas" panose="020B0609020204030204" pitchFamily="49" charset="0"/>
              </a:rPr>
              <a:t>                    },</a:t>
            </a:r>
          </a:p>
          <a:p>
            <a:pPr lvl="2"/>
            <a:endParaRPr lang="en-US" sz="800" dirty="0">
              <a:latin typeface="Consolas" panose="020B0609020204030204" pitchFamily="49" charset="0"/>
            </a:endParaRPr>
          </a:p>
          <a:p>
            <a:pPr lvl="2"/>
            <a:r>
              <a:rPr lang="en-US" sz="800" dirty="0">
                <a:latin typeface="Consolas" panose="020B0609020204030204" pitchFamily="49" charset="0"/>
              </a:rPr>
              <a:t>    	  "</a:t>
            </a:r>
            <a:r>
              <a:rPr lang="en-US" sz="800" dirty="0" err="1">
                <a:latin typeface="Consolas" panose="020B0609020204030204" pitchFamily="49" charset="0"/>
              </a:rPr>
              <a:t>PartsList</a:t>
            </a:r>
            <a:r>
              <a:rPr lang="en-US" sz="800" dirty="0">
                <a:latin typeface="Consolas" panose="020B0609020204030204" pitchFamily="49" charset="0"/>
              </a:rPr>
              <a:t>": [</a:t>
            </a:r>
          </a:p>
          <a:p>
            <a:pPr lvl="3"/>
            <a:r>
              <a:rPr lang="en-US" sz="800" dirty="0">
                <a:latin typeface="Consolas" panose="020B0609020204030204" pitchFamily="49" charset="0"/>
              </a:rPr>
              <a:t>                {</a:t>
            </a:r>
          </a:p>
          <a:p>
            <a:pPr lvl="3"/>
            <a:r>
              <a:rPr lang="en-US" sz="800" dirty="0">
                <a:latin typeface="Consolas" panose="020B0609020204030204" pitchFamily="49" charset="0"/>
              </a:rPr>
              <a:t>                    "</a:t>
            </a:r>
            <a:r>
              <a:rPr lang="en-US" sz="800" dirty="0" err="1">
                <a:latin typeface="Consolas" panose="020B0609020204030204" pitchFamily="49" charset="0"/>
              </a:rPr>
              <a:t>ModelName</a:t>
            </a:r>
            <a:r>
              <a:rPr lang="en-US" sz="800" dirty="0">
                <a:latin typeface="Consolas" panose="020B0609020204030204" pitchFamily="49" charset="0"/>
              </a:rPr>
              <a:t>": "</a:t>
            </a:r>
            <a:r>
              <a:rPr lang="en-US" sz="800" dirty="0" err="1">
                <a:latin typeface="Consolas" panose="020B0609020204030204" pitchFamily="49" charset="0"/>
              </a:rPr>
              <a:t>ap_rear_wiper_motor</a:t>
            </a:r>
            <a:r>
              <a:rPr lang="en-US" sz="800" dirty="0">
                <a:latin typeface="Consolas" panose="020B0609020204030204" pitchFamily="49" charset="0"/>
              </a:rPr>
              <a:t>",</a:t>
            </a:r>
          </a:p>
          <a:p>
            <a:pPr lvl="3"/>
            <a:r>
              <a:rPr lang="en-US" sz="800" dirty="0">
                <a:latin typeface="Consolas" panose="020B0609020204030204" pitchFamily="49" charset="0"/>
              </a:rPr>
              <a:t>                    "</a:t>
            </a:r>
            <a:r>
              <a:rPr lang="en-US" sz="800" dirty="0" err="1">
                <a:latin typeface="Consolas" panose="020B0609020204030204" pitchFamily="49" charset="0"/>
              </a:rPr>
              <a:t>AffectedPartID</a:t>
            </a:r>
            <a:r>
              <a:rPr lang="en-US" sz="800" dirty="0">
                <a:latin typeface="Consolas" panose="020B0609020204030204" pitchFamily="49" charset="0"/>
              </a:rPr>
              <a:t>": "3KK4EQN7VU",</a:t>
            </a:r>
          </a:p>
          <a:p>
            <a:pPr lvl="3"/>
            <a:r>
              <a:rPr lang="en-US" sz="800" dirty="0">
                <a:latin typeface="Consolas" panose="020B0609020204030204" pitchFamily="49" charset="0"/>
              </a:rPr>
              <a:t>                    "</a:t>
            </a:r>
            <a:r>
              <a:rPr lang="en-US" sz="800" dirty="0" err="1">
                <a:latin typeface="Consolas" panose="020B0609020204030204" pitchFamily="49" charset="0"/>
              </a:rPr>
              <a:t>FileName</a:t>
            </a:r>
            <a:r>
              <a:rPr lang="en-US" sz="800" dirty="0">
                <a:latin typeface="Consolas" panose="020B0609020204030204" pitchFamily="49" charset="0"/>
              </a:rPr>
              <a:t>": "/</a:t>
            </a:r>
            <a:r>
              <a:rPr lang="en-US" sz="800" dirty="0" err="1">
                <a:latin typeface="Consolas" panose="020B0609020204030204" pitchFamily="49" charset="0"/>
              </a:rPr>
              <a:t>Crv</a:t>
            </a:r>
            <a:r>
              <a:rPr lang="en-US" sz="800" dirty="0">
                <a:latin typeface="Consolas" panose="020B0609020204030204" pitchFamily="49" charset="0"/>
              </a:rPr>
              <a:t>/</a:t>
            </a:r>
            <a:r>
              <a:rPr lang="en-US" sz="800" dirty="0" err="1">
                <a:latin typeface="Consolas" panose="020B0609020204030204" pitchFamily="49" charset="0"/>
              </a:rPr>
              <a:t>AffectedPart</a:t>
            </a:r>
            <a:r>
              <a:rPr lang="en-US" sz="800" dirty="0">
                <a:latin typeface="Consolas" panose="020B0609020204030204" pitchFamily="49" charset="0"/>
              </a:rPr>
              <a:t>/</a:t>
            </a:r>
            <a:r>
              <a:rPr lang="en-US" sz="800" dirty="0" err="1">
                <a:latin typeface="Consolas" panose="020B0609020204030204" pitchFamily="49" charset="0"/>
              </a:rPr>
              <a:t>rear_wiper_motor.pvz</a:t>
            </a:r>
            <a:r>
              <a:rPr lang="en-US" sz="800" dirty="0">
                <a:latin typeface="Consolas" panose="020B0609020204030204" pitchFamily="49" charset="0"/>
              </a:rPr>
              <a:t>",</a:t>
            </a:r>
          </a:p>
          <a:p>
            <a:pPr lvl="3"/>
            <a:r>
              <a:rPr lang="en-US" sz="800" dirty="0">
                <a:latin typeface="Consolas" panose="020B0609020204030204" pitchFamily="49" charset="0"/>
              </a:rPr>
              <a:t>                    "</a:t>
            </a:r>
            <a:r>
              <a:rPr lang="en-US" sz="800" dirty="0" err="1">
                <a:latin typeface="Consolas" panose="020B0609020204030204" pitchFamily="49" charset="0"/>
              </a:rPr>
              <a:t>MetadataID</a:t>
            </a:r>
            <a:r>
              <a:rPr lang="en-US" sz="800" dirty="0">
                <a:latin typeface="Consolas" panose="020B0609020204030204" pitchFamily="49" charset="0"/>
              </a:rPr>
              <a:t>": "/134",</a:t>
            </a:r>
          </a:p>
          <a:p>
            <a:pPr lvl="3"/>
            <a:r>
              <a:rPr lang="en-US" sz="800" dirty="0">
                <a:latin typeface="Consolas" panose="020B0609020204030204" pitchFamily="49" charset="0"/>
              </a:rPr>
              <a:t>                    "source": "demo",</a:t>
            </a:r>
          </a:p>
          <a:p>
            <a:pPr lvl="3"/>
            <a:r>
              <a:rPr lang="en-US" sz="800" dirty="0">
                <a:latin typeface="Consolas" panose="020B0609020204030204" pitchFamily="49" charset="0"/>
              </a:rPr>
              <a:t>                    "</a:t>
            </a:r>
            <a:r>
              <a:rPr lang="en-US" sz="800" dirty="0" err="1">
                <a:latin typeface="Consolas" panose="020B0609020204030204" pitchFamily="49" charset="0"/>
              </a:rPr>
              <a:t>MetadataPropertyName</a:t>
            </a:r>
            <a:r>
              <a:rPr lang="en-US" sz="800" dirty="0">
                <a:latin typeface="Consolas" panose="020B0609020204030204" pitchFamily="49" charset="0"/>
              </a:rPr>
              <a:t>": "path",</a:t>
            </a:r>
          </a:p>
          <a:p>
            <a:pPr lvl="3"/>
            <a:r>
              <a:rPr lang="en-US" sz="800" dirty="0">
                <a:latin typeface="Consolas" panose="020B0609020204030204" pitchFamily="49" charset="0"/>
              </a:rPr>
              <a:t>                    "tags": [],</a:t>
            </a:r>
          </a:p>
          <a:p>
            <a:pPr lvl="3"/>
            <a:r>
              <a:rPr lang="en-US" sz="800" dirty="0">
                <a:latin typeface="Consolas" panose="020B0609020204030204" pitchFamily="49" charset="0"/>
              </a:rPr>
              <a:t>                    "</a:t>
            </a:r>
            <a:r>
              <a:rPr lang="en-US" sz="800" dirty="0" err="1">
                <a:latin typeface="Consolas" panose="020B0609020204030204" pitchFamily="49" charset="0"/>
              </a:rPr>
              <a:t>PartName</a:t>
            </a:r>
            <a:r>
              <a:rPr lang="en-US" sz="800" dirty="0">
                <a:latin typeface="Consolas" panose="020B0609020204030204" pitchFamily="49" charset="0"/>
              </a:rPr>
              <a:t>": "REAR_WIPER_MOTOR.PRT",</a:t>
            </a:r>
          </a:p>
          <a:p>
            <a:pPr lvl="3"/>
            <a:r>
              <a:rPr lang="en-US" sz="800" dirty="0">
                <a:latin typeface="Consolas" panose="020B0609020204030204" pitchFamily="49" charset="0"/>
              </a:rPr>
              <a:t>                    "</a:t>
            </a:r>
            <a:r>
              <a:rPr lang="en-US" sz="800" dirty="0" err="1">
                <a:latin typeface="Consolas" panose="020B0609020204030204" pitchFamily="49" charset="0"/>
              </a:rPr>
              <a:t>sourceType</a:t>
            </a:r>
            <a:r>
              <a:rPr lang="en-US" sz="800" dirty="0">
                <a:latin typeface="Consolas" panose="020B0609020204030204" pitchFamily="49" charset="0"/>
              </a:rPr>
              <a:t>": "User",</a:t>
            </a:r>
          </a:p>
          <a:p>
            <a:pPr lvl="3"/>
            <a:r>
              <a:rPr lang="en-US" sz="800" dirty="0">
                <a:latin typeface="Consolas" panose="020B0609020204030204" pitchFamily="49" charset="0"/>
              </a:rPr>
              <a:t>                    "DisplayName": "REAR_WIPER_MOTOR.PRT",</a:t>
            </a:r>
          </a:p>
          <a:p>
            <a:pPr lvl="3"/>
            <a:r>
              <a:rPr lang="en-US" sz="800" dirty="0">
                <a:latin typeface="Consolas" panose="020B0609020204030204" pitchFamily="49" charset="0"/>
              </a:rPr>
              <a:t>                    "location": {</a:t>
            </a:r>
          </a:p>
          <a:p>
            <a:pPr lvl="3"/>
            <a:r>
              <a:rPr lang="en-US" sz="800" dirty="0">
                <a:latin typeface="Consolas" panose="020B0609020204030204" pitchFamily="49" charset="0"/>
              </a:rPr>
              <a:t>                        "latitude": 0,</a:t>
            </a:r>
          </a:p>
          <a:p>
            <a:pPr lvl="3"/>
            <a:r>
              <a:rPr lang="en-US" sz="800" dirty="0">
                <a:latin typeface="Consolas" panose="020B0609020204030204" pitchFamily="49" charset="0"/>
              </a:rPr>
              <a:t>                        "longitude": 0,</a:t>
            </a:r>
          </a:p>
          <a:p>
            <a:pPr lvl="3"/>
            <a:r>
              <a:rPr lang="en-US" sz="800" dirty="0">
                <a:latin typeface="Consolas" panose="020B0609020204030204" pitchFamily="49" charset="0"/>
              </a:rPr>
              <a:t>                        "elevation": 0</a:t>
            </a:r>
          </a:p>
          <a:p>
            <a:pPr lvl="3"/>
            <a:r>
              <a:rPr lang="en-US" sz="800" dirty="0">
                <a:latin typeface="Consolas" panose="020B0609020204030204" pitchFamily="49" charset="0"/>
              </a:rPr>
              <a:t>                    },</a:t>
            </a:r>
          </a:p>
          <a:p>
            <a:pPr lvl="3"/>
            <a:r>
              <a:rPr lang="en-US" sz="800" dirty="0">
                <a:latin typeface="Consolas" panose="020B0609020204030204" pitchFamily="49" charset="0"/>
              </a:rPr>
              <a:t>                    "key": "3KK4EQN7VU/134",</a:t>
            </a:r>
          </a:p>
          <a:p>
            <a:pPr lvl="3"/>
            <a:r>
              <a:rPr lang="en-US" sz="800" dirty="0">
                <a:latin typeface="Consolas" panose="020B0609020204030204" pitchFamily="49" charset="0"/>
              </a:rPr>
              <a:t>                    "timestamp": "2023-12-20T21:19:02.159Z"</a:t>
            </a:r>
          </a:p>
          <a:p>
            <a:r>
              <a:rPr lang="en-US" sz="500" b="0" dirty="0">
                <a:solidFill>
                  <a:srgbClr val="CCCCCC"/>
                </a:solidFill>
                <a:effectLst/>
                <a:latin typeface="Consolas" panose="020B0609020204030204" pitchFamily="49" charset="0"/>
              </a:rPr>
              <a:t>                },</a:t>
            </a:r>
          </a:p>
          <a:p>
            <a:endParaRPr lang="en-US" sz="1200" dirty="0">
              <a:solidFill>
                <a:srgbClr val="9CDCFE"/>
              </a:solidFill>
              <a:latin typeface="Consolas" panose="020B0609020204030204" pitchFamily="49" charset="0"/>
            </a:endParaRPr>
          </a:p>
        </p:txBody>
      </p:sp>
      <p:sp>
        <p:nvSpPr>
          <p:cNvPr id="6" name="TextBox 5">
            <a:extLst>
              <a:ext uri="{FF2B5EF4-FFF2-40B4-BE49-F238E27FC236}">
                <a16:creationId xmlns:a16="http://schemas.microsoft.com/office/drawing/2014/main" id="{5E3B7502-3B84-6052-92EE-BFBCB90CE970}"/>
              </a:ext>
            </a:extLst>
          </p:cNvPr>
          <p:cNvSpPr txBox="1"/>
          <p:nvPr/>
        </p:nvSpPr>
        <p:spPr>
          <a:xfrm>
            <a:off x="876299" y="4205339"/>
            <a:ext cx="2979223" cy="461665"/>
          </a:xfrm>
          <a:prstGeom prst="rect">
            <a:avLst/>
          </a:prstGeom>
          <a:noFill/>
          <a:ln w="9525">
            <a:noFill/>
          </a:ln>
        </p:spPr>
        <p:txBody>
          <a:bodyPr wrap="square">
            <a:spAutoFit/>
          </a:bodyPr>
          <a:lstStyle/>
          <a:p>
            <a:r>
              <a:rPr lang="en-US" sz="1200" dirty="0" err="1">
                <a:highlight>
                  <a:srgbClr val="FFFF00"/>
                </a:highlight>
                <a:latin typeface="Consolas" panose="020B0609020204030204" pitchFamily="49" charset="0"/>
              </a:rPr>
              <a:t>Subsequenent</a:t>
            </a:r>
            <a:r>
              <a:rPr lang="en-US" sz="1200" dirty="0">
                <a:highlight>
                  <a:srgbClr val="FFFF00"/>
                </a:highlight>
                <a:latin typeface="Consolas" panose="020B0609020204030204" pitchFamily="49" charset="0"/>
              </a:rPr>
              <a:t> steps have an array of models and a </a:t>
            </a:r>
            <a:r>
              <a:rPr lang="en-US" sz="1200" dirty="0" err="1">
                <a:highlight>
                  <a:srgbClr val="FFFF00"/>
                </a:highlight>
                <a:latin typeface="Consolas" panose="020B0609020204030204" pitchFamily="49" charset="0"/>
              </a:rPr>
              <a:t>PartsList</a:t>
            </a:r>
            <a:r>
              <a:rPr lang="en-US" sz="1200" dirty="0">
                <a:highlight>
                  <a:srgbClr val="FFFF00"/>
                </a:highlight>
                <a:latin typeface="Consolas" panose="020B0609020204030204" pitchFamily="49" charset="0"/>
              </a:rPr>
              <a:t> </a:t>
            </a:r>
          </a:p>
        </p:txBody>
      </p:sp>
      <p:cxnSp>
        <p:nvCxnSpPr>
          <p:cNvPr id="8" name="Straight Arrow Connector 7">
            <a:extLst>
              <a:ext uri="{FF2B5EF4-FFF2-40B4-BE49-F238E27FC236}">
                <a16:creationId xmlns:a16="http://schemas.microsoft.com/office/drawing/2014/main" id="{82CADB18-F06D-6044-9CA7-FB560209797F}"/>
              </a:ext>
            </a:extLst>
          </p:cNvPr>
          <p:cNvCxnSpPr>
            <a:cxnSpLocks/>
          </p:cNvCxnSpPr>
          <p:nvPr/>
        </p:nvCxnSpPr>
        <p:spPr>
          <a:xfrm flipV="1">
            <a:off x="3325091" y="1335974"/>
            <a:ext cx="1822862" cy="855023"/>
          </a:xfrm>
          <a:prstGeom prst="straightConnector1">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FF19F1FF-BA51-2CF6-3949-5F52028A2067}"/>
              </a:ext>
            </a:extLst>
          </p:cNvPr>
          <p:cNvSpPr txBox="1"/>
          <p:nvPr/>
        </p:nvSpPr>
        <p:spPr>
          <a:xfrm>
            <a:off x="8596003" y="262675"/>
            <a:ext cx="2397331" cy="830997"/>
          </a:xfrm>
          <a:prstGeom prst="rect">
            <a:avLst/>
          </a:prstGeom>
          <a:noFill/>
          <a:ln w="9525">
            <a:noFill/>
          </a:ln>
        </p:spPr>
        <p:txBody>
          <a:bodyPr wrap="square">
            <a:spAutoFit/>
          </a:bodyPr>
          <a:lstStyle/>
          <a:p>
            <a:r>
              <a:rPr lang="en-US" sz="1200" dirty="0">
                <a:highlight>
                  <a:srgbClr val="FFFF00"/>
                </a:highlight>
                <a:latin typeface="Consolas" panose="020B0609020204030204" pitchFamily="49" charset="0"/>
              </a:rPr>
              <a:t>An array of all models used within the </a:t>
            </a:r>
            <a:r>
              <a:rPr lang="en-US" sz="1200" dirty="0" err="1">
                <a:highlight>
                  <a:srgbClr val="FFFF00"/>
                </a:highlight>
                <a:latin typeface="Consolas" panose="020B0609020204030204" pitchFamily="49" charset="0"/>
              </a:rPr>
              <a:t>WorkPackage</a:t>
            </a:r>
            <a:r>
              <a:rPr lang="en-US" sz="1200" dirty="0">
                <a:highlight>
                  <a:srgbClr val="FFFF00"/>
                </a:highlight>
                <a:latin typeface="Consolas" panose="020B0609020204030204" pitchFamily="49" charset="0"/>
              </a:rPr>
              <a:t> – this is a convenience entry</a:t>
            </a:r>
          </a:p>
        </p:txBody>
      </p:sp>
      <p:cxnSp>
        <p:nvCxnSpPr>
          <p:cNvPr id="16" name="Straight Arrow Connector 15">
            <a:extLst>
              <a:ext uri="{FF2B5EF4-FFF2-40B4-BE49-F238E27FC236}">
                <a16:creationId xmlns:a16="http://schemas.microsoft.com/office/drawing/2014/main" id="{15B02B11-A423-9794-22BE-96086DB8A93F}"/>
              </a:ext>
            </a:extLst>
          </p:cNvPr>
          <p:cNvCxnSpPr>
            <a:cxnSpLocks/>
          </p:cNvCxnSpPr>
          <p:nvPr/>
        </p:nvCxnSpPr>
        <p:spPr>
          <a:xfrm flipH="1">
            <a:off x="5769678" y="750655"/>
            <a:ext cx="2774372" cy="412668"/>
          </a:xfrm>
          <a:prstGeom prst="straightConnector1">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10D64280-7B44-81F5-A43E-A2D8087011EE}"/>
              </a:ext>
            </a:extLst>
          </p:cNvPr>
          <p:cNvSpPr txBox="1"/>
          <p:nvPr/>
        </p:nvSpPr>
        <p:spPr>
          <a:xfrm>
            <a:off x="438892" y="2059587"/>
            <a:ext cx="2979223" cy="1015663"/>
          </a:xfrm>
          <a:prstGeom prst="rect">
            <a:avLst/>
          </a:prstGeom>
          <a:noFill/>
          <a:ln w="9525">
            <a:noFill/>
          </a:ln>
        </p:spPr>
        <p:txBody>
          <a:bodyPr wrap="square">
            <a:spAutoFit/>
          </a:bodyPr>
          <a:lstStyle/>
          <a:p>
            <a:r>
              <a:rPr lang="en-US" sz="1200" dirty="0">
                <a:highlight>
                  <a:srgbClr val="FFFF00"/>
                </a:highlight>
                <a:latin typeface="Consolas" panose="020B0609020204030204" pitchFamily="49" charset="0"/>
              </a:rPr>
              <a:t>This is an array of steps where step zero is a special case (this may need rework as its really a summary entry point of the instructions)</a:t>
            </a:r>
          </a:p>
        </p:txBody>
      </p:sp>
      <p:cxnSp>
        <p:nvCxnSpPr>
          <p:cNvPr id="25" name="Straight Arrow Connector 24">
            <a:extLst>
              <a:ext uri="{FF2B5EF4-FFF2-40B4-BE49-F238E27FC236}">
                <a16:creationId xmlns:a16="http://schemas.microsoft.com/office/drawing/2014/main" id="{475DA0F8-DD14-B381-E9E8-55044462CCF5}"/>
              </a:ext>
            </a:extLst>
          </p:cNvPr>
          <p:cNvCxnSpPr>
            <a:cxnSpLocks/>
          </p:cNvCxnSpPr>
          <p:nvPr/>
        </p:nvCxnSpPr>
        <p:spPr>
          <a:xfrm flipV="1">
            <a:off x="3855522" y="3298939"/>
            <a:ext cx="2580904" cy="906400"/>
          </a:xfrm>
          <a:prstGeom prst="straightConnector1">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6B79622B-04DF-4619-4E6D-C15597D90E2E}"/>
              </a:ext>
            </a:extLst>
          </p:cNvPr>
          <p:cNvCxnSpPr>
            <a:cxnSpLocks/>
          </p:cNvCxnSpPr>
          <p:nvPr/>
        </p:nvCxnSpPr>
        <p:spPr>
          <a:xfrm flipV="1">
            <a:off x="3179618" y="4194210"/>
            <a:ext cx="3711039" cy="472794"/>
          </a:xfrm>
          <a:prstGeom prst="straightConnector1">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13784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7DDACF-B382-F61E-5D49-543936299D93}"/>
              </a:ext>
            </a:extLst>
          </p:cNvPr>
          <p:cNvSpPr>
            <a:spLocks noGrp="1"/>
          </p:cNvSpPr>
          <p:nvPr>
            <p:ph type="title"/>
          </p:nvPr>
        </p:nvSpPr>
        <p:spPr/>
        <p:txBody>
          <a:bodyPr/>
          <a:lstStyle/>
          <a:p>
            <a:r>
              <a:rPr lang="en-US" dirty="0"/>
              <a:t>IMPLEMENT DETAILS</a:t>
            </a:r>
          </a:p>
        </p:txBody>
      </p:sp>
      <p:pic>
        <p:nvPicPr>
          <p:cNvPr id="3" name="Graphic 2">
            <a:extLst>
              <a:ext uri="{FF2B5EF4-FFF2-40B4-BE49-F238E27FC236}">
                <a16:creationId xmlns:a16="http://schemas.microsoft.com/office/drawing/2014/main" id="{40F5525B-50F2-381C-C9BD-0E48FE30405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783832" y="519940"/>
            <a:ext cx="3296795" cy="685800"/>
          </a:xfrm>
          <a:prstGeom prst="rect">
            <a:avLst/>
          </a:prstGeom>
        </p:spPr>
      </p:pic>
      <p:sp>
        <p:nvSpPr>
          <p:cNvPr id="4" name="TextBox 3">
            <a:extLst>
              <a:ext uri="{FF2B5EF4-FFF2-40B4-BE49-F238E27FC236}">
                <a16:creationId xmlns:a16="http://schemas.microsoft.com/office/drawing/2014/main" id="{40086C5B-23DA-8472-04D4-E5E0E09002B9}"/>
              </a:ext>
            </a:extLst>
          </p:cNvPr>
          <p:cNvSpPr txBox="1"/>
          <p:nvPr/>
        </p:nvSpPr>
        <p:spPr>
          <a:xfrm>
            <a:off x="8318812" y="695736"/>
            <a:ext cx="2961868" cy="430887"/>
          </a:xfrm>
          <a:prstGeom prst="rect">
            <a:avLst/>
          </a:prstGeom>
          <a:ln w="9525">
            <a:noFill/>
          </a:ln>
        </p:spPr>
        <p:txBody>
          <a:bodyPr vert="horz" wrap="square" lIns="45720" tIns="45720" rIns="45720" bIns="45720" rtlCol="0">
            <a:noAutofit/>
          </a:bodyPr>
          <a:lstStyle/>
          <a:p>
            <a:pPr algn="l">
              <a:lnSpc>
                <a:spcPct val="90000"/>
              </a:lnSpc>
              <a:spcBef>
                <a:spcPts val="800"/>
              </a:spcBef>
            </a:pPr>
            <a:r>
              <a:rPr lang="en-US" dirty="0"/>
              <a:t>Service requests</a:t>
            </a:r>
          </a:p>
          <a:p>
            <a:pPr algn="l">
              <a:lnSpc>
                <a:spcPct val="90000"/>
              </a:lnSpc>
              <a:spcBef>
                <a:spcPts val="800"/>
              </a:spcBef>
            </a:pPr>
            <a:endParaRPr lang="en-US" dirty="0"/>
          </a:p>
        </p:txBody>
      </p:sp>
      <p:sp>
        <p:nvSpPr>
          <p:cNvPr id="7" name="TextBox 6">
            <a:extLst>
              <a:ext uri="{FF2B5EF4-FFF2-40B4-BE49-F238E27FC236}">
                <a16:creationId xmlns:a16="http://schemas.microsoft.com/office/drawing/2014/main" id="{18C706AD-F3ED-D3D6-3386-07C25C6FE679}"/>
              </a:ext>
            </a:extLst>
          </p:cNvPr>
          <p:cNvSpPr txBox="1"/>
          <p:nvPr/>
        </p:nvSpPr>
        <p:spPr>
          <a:xfrm>
            <a:off x="336229" y="1258827"/>
            <a:ext cx="6096000" cy="430887"/>
          </a:xfrm>
          <a:prstGeom prst="rect">
            <a:avLst/>
          </a:prstGeom>
          <a:noFill/>
          <a:ln w="9525">
            <a:noFill/>
          </a:ln>
        </p:spPr>
        <p:txBody>
          <a:bodyPr wrap="square">
            <a:spAutoFit/>
          </a:bodyPr>
          <a:lstStyle/>
          <a:p>
            <a:r>
              <a:rPr lang="en-US" b="1" i="0" dirty="0" err="1">
                <a:solidFill>
                  <a:srgbClr val="3D4647"/>
                </a:solidFill>
                <a:effectLst/>
                <a:latin typeface="Arial" panose="020B0604020202020204" pitchFamily="34" charset="0"/>
              </a:rPr>
              <a:t>AutoARServiceHelper</a:t>
            </a:r>
            <a:endParaRPr lang="en-US" dirty="0"/>
          </a:p>
        </p:txBody>
      </p:sp>
      <p:sp>
        <p:nvSpPr>
          <p:cNvPr id="9" name="TextBox 8">
            <a:extLst>
              <a:ext uri="{FF2B5EF4-FFF2-40B4-BE49-F238E27FC236}">
                <a16:creationId xmlns:a16="http://schemas.microsoft.com/office/drawing/2014/main" id="{5AA97256-226C-9B73-CC36-1AC9C546F61F}"/>
              </a:ext>
            </a:extLst>
          </p:cNvPr>
          <p:cNvSpPr txBox="1"/>
          <p:nvPr/>
        </p:nvSpPr>
        <p:spPr>
          <a:xfrm>
            <a:off x="434973" y="5066847"/>
            <a:ext cx="6231672" cy="1415772"/>
          </a:xfrm>
          <a:prstGeom prst="rect">
            <a:avLst/>
          </a:prstGeom>
          <a:noFill/>
          <a:ln w="9525">
            <a:noFill/>
          </a:ln>
        </p:spPr>
        <p:txBody>
          <a:bodyPr wrap="square">
            <a:spAutoFit/>
          </a:bodyPr>
          <a:lstStyle/>
          <a:p>
            <a:r>
              <a:rPr lang="en-US" sz="1800" dirty="0" err="1">
                <a:highlight>
                  <a:srgbClr val="FFFF00"/>
                </a:highlight>
              </a:rPr>
              <a:t>GetWorkPackage</a:t>
            </a:r>
            <a:r>
              <a:rPr lang="en-US" sz="1800" dirty="0"/>
              <a:t> based  on Vin number </a:t>
            </a:r>
            <a:r>
              <a:rPr lang="en-US" sz="1050" dirty="0"/>
              <a:t>(could be any ID)</a:t>
            </a:r>
          </a:p>
          <a:p>
            <a:endParaRPr lang="en-US" sz="1800" dirty="0"/>
          </a:p>
          <a:p>
            <a:r>
              <a:rPr lang="en-US" sz="1800" dirty="0"/>
              <a:t>Returns </a:t>
            </a:r>
            <a:r>
              <a:rPr lang="en-US" sz="1050" dirty="0"/>
              <a:t>JSON (</a:t>
            </a:r>
            <a:r>
              <a:rPr lang="en-US" sz="1050" dirty="0" err="1"/>
              <a:t>InfoTable</a:t>
            </a:r>
            <a:r>
              <a:rPr lang="en-US" sz="1050" dirty="0"/>
              <a:t>)</a:t>
            </a:r>
          </a:p>
          <a:p>
            <a:pPr lvl="1"/>
            <a:r>
              <a:rPr lang="en-US" sz="1600" dirty="0"/>
              <a:t>Package of Work Instructions with steps and related Model. </a:t>
            </a:r>
          </a:p>
        </p:txBody>
      </p:sp>
      <p:sp>
        <p:nvSpPr>
          <p:cNvPr id="11" name="TextBox 10">
            <a:extLst>
              <a:ext uri="{FF2B5EF4-FFF2-40B4-BE49-F238E27FC236}">
                <a16:creationId xmlns:a16="http://schemas.microsoft.com/office/drawing/2014/main" id="{9A803CCF-F667-6691-CDB7-9F2C4F26BA11}"/>
              </a:ext>
            </a:extLst>
          </p:cNvPr>
          <p:cNvSpPr txBox="1"/>
          <p:nvPr/>
        </p:nvSpPr>
        <p:spPr>
          <a:xfrm>
            <a:off x="455612" y="1712083"/>
            <a:ext cx="9403308" cy="2031325"/>
          </a:xfrm>
          <a:prstGeom prst="rect">
            <a:avLst/>
          </a:prstGeom>
          <a:noFill/>
          <a:ln w="9525">
            <a:noFill/>
          </a:ln>
        </p:spPr>
        <p:txBody>
          <a:bodyPr wrap="square">
            <a:spAutoFit/>
          </a:bodyPr>
          <a:lstStyle/>
          <a:p>
            <a:r>
              <a:rPr lang="en-US" dirty="0" err="1">
                <a:highlight>
                  <a:srgbClr val="FFFF00"/>
                </a:highlight>
              </a:rPr>
              <a:t>GetHeroData</a:t>
            </a:r>
            <a:r>
              <a:rPr lang="en-US" dirty="0"/>
              <a:t> based on Vin number </a:t>
            </a:r>
            <a:r>
              <a:rPr lang="en-US" sz="1200" dirty="0"/>
              <a:t>(could be any ID)</a:t>
            </a:r>
          </a:p>
          <a:p>
            <a:endParaRPr lang="en-US" sz="1200" dirty="0"/>
          </a:p>
          <a:p>
            <a:r>
              <a:rPr lang="en-US" sz="2000" dirty="0"/>
              <a:t>Returns </a:t>
            </a:r>
          </a:p>
          <a:p>
            <a:pPr marL="829138" lvl="1" indent="-285750">
              <a:buFont typeface="Arial" panose="020B0604020202020204" pitchFamily="34" charset="0"/>
              <a:buChar char="•"/>
            </a:pPr>
            <a:r>
              <a:rPr lang="en-US" sz="1200" dirty="0"/>
              <a:t>VIN</a:t>
            </a:r>
          </a:p>
          <a:p>
            <a:pPr marL="829138" lvl="1" indent="-285750">
              <a:buFont typeface="Arial" panose="020B0604020202020204" pitchFamily="34" charset="0"/>
              <a:buChar char="•"/>
            </a:pPr>
            <a:r>
              <a:rPr lang="en-US" sz="1200" dirty="0"/>
              <a:t>Folder </a:t>
            </a:r>
          </a:p>
          <a:p>
            <a:pPr marL="829138" lvl="1" indent="-285750">
              <a:buFont typeface="Arial" panose="020B0604020202020204" pitchFamily="34" charset="0"/>
              <a:buChar char="•"/>
            </a:pPr>
            <a:r>
              <a:rPr lang="en-US" sz="1200" dirty="0"/>
              <a:t>MTID</a:t>
            </a:r>
          </a:p>
          <a:p>
            <a:pPr marL="829138" lvl="1" indent="-285750">
              <a:buFont typeface="Arial" panose="020B0604020202020204" pitchFamily="34" charset="0"/>
              <a:buChar char="•"/>
            </a:pPr>
            <a:r>
              <a:rPr lang="en-US" sz="1200" dirty="0" err="1"/>
              <a:t>MTDataset</a:t>
            </a:r>
            <a:r>
              <a:rPr lang="en-US" sz="1200" dirty="0"/>
              <a:t> </a:t>
            </a:r>
          </a:p>
          <a:p>
            <a:pPr marL="829138" lvl="1" indent="-285750">
              <a:buFont typeface="Arial" panose="020B0604020202020204" pitchFamily="34" charset="0"/>
              <a:buChar char="•"/>
            </a:pPr>
            <a:r>
              <a:rPr lang="en-US" sz="1200" dirty="0" err="1"/>
              <a:t>MTGuideView</a:t>
            </a:r>
            <a:endParaRPr lang="en-US" sz="1200" dirty="0"/>
          </a:p>
          <a:p>
            <a:pPr marL="829138" lvl="1" indent="-285750">
              <a:buFont typeface="Arial" panose="020B0604020202020204" pitchFamily="34" charset="0"/>
              <a:buChar char="•"/>
            </a:pPr>
            <a:r>
              <a:rPr lang="en-US" sz="1200" dirty="0"/>
              <a:t>Model</a:t>
            </a:r>
            <a:endParaRPr lang="en-US" sz="2000" dirty="0"/>
          </a:p>
        </p:txBody>
      </p:sp>
      <p:pic>
        <p:nvPicPr>
          <p:cNvPr id="13" name="Picture 12">
            <a:extLst>
              <a:ext uri="{FF2B5EF4-FFF2-40B4-BE49-F238E27FC236}">
                <a16:creationId xmlns:a16="http://schemas.microsoft.com/office/drawing/2014/main" id="{92B6F91C-FA6C-B6D0-4DFF-7C83E3175E6F}"/>
              </a:ext>
            </a:extLst>
          </p:cNvPr>
          <p:cNvPicPr>
            <a:picLocks noChangeAspect="1"/>
          </p:cNvPicPr>
          <p:nvPr/>
        </p:nvPicPr>
        <p:blipFill>
          <a:blip r:embed="rId5"/>
          <a:stretch>
            <a:fillRect/>
          </a:stretch>
        </p:blipFill>
        <p:spPr>
          <a:xfrm>
            <a:off x="336229" y="3743408"/>
            <a:ext cx="6231673" cy="1181202"/>
          </a:xfrm>
          <a:prstGeom prst="rect">
            <a:avLst/>
          </a:prstGeom>
        </p:spPr>
      </p:pic>
      <p:graphicFrame>
        <p:nvGraphicFramePr>
          <p:cNvPr id="6" name="Object 5">
            <a:extLst>
              <a:ext uri="{FF2B5EF4-FFF2-40B4-BE49-F238E27FC236}">
                <a16:creationId xmlns:a16="http://schemas.microsoft.com/office/drawing/2014/main" id="{5038791D-1361-D74B-2436-7D73132E1ADF}"/>
              </a:ext>
            </a:extLst>
          </p:cNvPr>
          <p:cNvGraphicFramePr>
            <a:graphicFrameLocks noChangeAspect="1"/>
          </p:cNvGraphicFramePr>
          <p:nvPr>
            <p:extLst>
              <p:ext uri="{D42A27DB-BD31-4B8C-83A1-F6EECF244321}">
                <p14:modId xmlns:p14="http://schemas.microsoft.com/office/powerpoint/2010/main" val="3818478382"/>
              </p:ext>
            </p:extLst>
          </p:nvPr>
        </p:nvGraphicFramePr>
        <p:xfrm>
          <a:off x="7067550" y="1141413"/>
          <a:ext cx="4668838" cy="5418137"/>
        </p:xfrm>
        <a:graphic>
          <a:graphicData uri="http://schemas.openxmlformats.org/presentationml/2006/ole">
            <mc:AlternateContent xmlns:mc="http://schemas.openxmlformats.org/markup-compatibility/2006">
              <mc:Choice xmlns:v="urn:schemas-microsoft-com:vml" Requires="v">
                <p:oleObj name="Document" r:id="rId6" imgW="7313830" imgH="8469211" progId="Word.Document.12">
                  <p:embed/>
                </p:oleObj>
              </mc:Choice>
              <mc:Fallback>
                <p:oleObj name="Document" r:id="rId6" imgW="7313830" imgH="8469211" progId="Word.Document.12">
                  <p:embed/>
                  <p:pic>
                    <p:nvPicPr>
                      <p:cNvPr id="6" name="Object 5">
                        <a:extLst>
                          <a:ext uri="{FF2B5EF4-FFF2-40B4-BE49-F238E27FC236}">
                            <a16:creationId xmlns:a16="http://schemas.microsoft.com/office/drawing/2014/main" id="{5038791D-1361-D74B-2436-7D73132E1ADF}"/>
                          </a:ext>
                        </a:extLst>
                      </p:cNvPr>
                      <p:cNvPicPr/>
                      <p:nvPr/>
                    </p:nvPicPr>
                    <p:blipFill>
                      <a:blip r:embed="rId7"/>
                      <a:stretch>
                        <a:fillRect/>
                      </a:stretch>
                    </p:blipFill>
                    <p:spPr>
                      <a:xfrm>
                        <a:off x="7067550" y="1141413"/>
                        <a:ext cx="4668838" cy="5418137"/>
                      </a:xfrm>
                      <a:prstGeom prst="rect">
                        <a:avLst/>
                      </a:prstGeom>
                    </p:spPr>
                  </p:pic>
                </p:oleObj>
              </mc:Fallback>
            </mc:AlternateContent>
          </a:graphicData>
        </a:graphic>
      </p:graphicFrame>
    </p:spTree>
    <p:extLst>
      <p:ext uri="{BB962C8B-B14F-4D97-AF65-F5344CB8AC3E}">
        <p14:creationId xmlns:p14="http://schemas.microsoft.com/office/powerpoint/2010/main" val="794729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6950BFC3-D8DA-4A85-94F7-54DA5524770B}">
      <p188:commentRel xmlns:p188="http://schemas.microsoft.com/office/powerpoint/2018/8/main" r:id="rId2"/>
    </p:ext>
  </p:extLs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7DDACF-B382-F61E-5D49-543936299D93}"/>
              </a:ext>
            </a:extLst>
          </p:cNvPr>
          <p:cNvSpPr>
            <a:spLocks noGrp="1"/>
          </p:cNvSpPr>
          <p:nvPr>
            <p:ph type="title"/>
          </p:nvPr>
        </p:nvSpPr>
        <p:spPr/>
        <p:txBody>
          <a:bodyPr/>
          <a:lstStyle/>
          <a:p>
            <a:r>
              <a:rPr lang="en-US" dirty="0"/>
              <a:t>IMPLEMENT DETAILS</a:t>
            </a:r>
          </a:p>
        </p:txBody>
      </p:sp>
      <p:pic>
        <p:nvPicPr>
          <p:cNvPr id="3" name="Graphic 2">
            <a:extLst>
              <a:ext uri="{FF2B5EF4-FFF2-40B4-BE49-F238E27FC236}">
                <a16:creationId xmlns:a16="http://schemas.microsoft.com/office/drawing/2014/main" id="{40F5525B-50F2-381C-C9BD-0E48FE30405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878997" y="519940"/>
            <a:ext cx="3296795" cy="685800"/>
          </a:xfrm>
          <a:prstGeom prst="rect">
            <a:avLst/>
          </a:prstGeom>
        </p:spPr>
      </p:pic>
      <p:pic>
        <p:nvPicPr>
          <p:cNvPr id="5" name="Graphic 4">
            <a:extLst>
              <a:ext uri="{FF2B5EF4-FFF2-40B4-BE49-F238E27FC236}">
                <a16:creationId xmlns:a16="http://schemas.microsoft.com/office/drawing/2014/main" id="{406D6F29-06AE-6179-DC5A-7518D1BDCF3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22422" y="1126398"/>
            <a:ext cx="336676" cy="419940"/>
          </a:xfrm>
          <a:prstGeom prst="rect">
            <a:avLst/>
          </a:prstGeom>
        </p:spPr>
      </p:pic>
      <p:pic>
        <p:nvPicPr>
          <p:cNvPr id="11" name="Picture 10">
            <a:extLst>
              <a:ext uri="{FF2B5EF4-FFF2-40B4-BE49-F238E27FC236}">
                <a16:creationId xmlns:a16="http://schemas.microsoft.com/office/drawing/2014/main" id="{CCCF0273-38B2-B79C-DEED-65CD98005E12}"/>
              </a:ext>
            </a:extLst>
          </p:cNvPr>
          <p:cNvPicPr>
            <a:picLocks noChangeAspect="1"/>
          </p:cNvPicPr>
          <p:nvPr/>
        </p:nvPicPr>
        <p:blipFill>
          <a:blip r:embed="rId6"/>
          <a:stretch>
            <a:fillRect/>
          </a:stretch>
        </p:blipFill>
        <p:spPr>
          <a:xfrm>
            <a:off x="5372576" y="1264334"/>
            <a:ext cx="4980464" cy="2050390"/>
          </a:xfrm>
          <a:prstGeom prst="rect">
            <a:avLst/>
          </a:prstGeom>
        </p:spPr>
      </p:pic>
      <p:pic>
        <p:nvPicPr>
          <p:cNvPr id="14" name="Picture 13">
            <a:extLst>
              <a:ext uri="{FF2B5EF4-FFF2-40B4-BE49-F238E27FC236}">
                <a16:creationId xmlns:a16="http://schemas.microsoft.com/office/drawing/2014/main" id="{FE76A99A-3BD1-5399-EE94-F247FD9384B4}"/>
              </a:ext>
            </a:extLst>
          </p:cNvPr>
          <p:cNvPicPr>
            <a:picLocks noChangeAspect="1"/>
          </p:cNvPicPr>
          <p:nvPr/>
        </p:nvPicPr>
        <p:blipFill>
          <a:blip r:embed="rId7"/>
          <a:stretch>
            <a:fillRect/>
          </a:stretch>
        </p:blipFill>
        <p:spPr>
          <a:xfrm>
            <a:off x="4954733" y="3710903"/>
            <a:ext cx="6417194" cy="2730537"/>
          </a:xfrm>
          <a:prstGeom prst="rect">
            <a:avLst/>
          </a:prstGeom>
        </p:spPr>
      </p:pic>
      <p:sp>
        <p:nvSpPr>
          <p:cNvPr id="4" name="TextBox 3">
            <a:extLst>
              <a:ext uri="{FF2B5EF4-FFF2-40B4-BE49-F238E27FC236}">
                <a16:creationId xmlns:a16="http://schemas.microsoft.com/office/drawing/2014/main" id="{40086C5B-23DA-8472-04D4-E5E0E09002B9}"/>
              </a:ext>
            </a:extLst>
          </p:cNvPr>
          <p:cNvSpPr txBox="1"/>
          <p:nvPr/>
        </p:nvSpPr>
        <p:spPr>
          <a:xfrm>
            <a:off x="555573" y="1625231"/>
            <a:ext cx="5708662" cy="5077466"/>
          </a:xfrm>
          <a:prstGeom prst="rect">
            <a:avLst/>
          </a:prstGeom>
          <a:ln w="9525">
            <a:noFill/>
          </a:ln>
        </p:spPr>
        <p:txBody>
          <a:bodyPr vert="horz" wrap="square" lIns="45720" tIns="45720" rIns="45720" bIns="45720" rtlCol="0">
            <a:noAutofit/>
          </a:bodyPr>
          <a:lstStyle/>
          <a:p>
            <a:pPr algn="l">
              <a:lnSpc>
                <a:spcPct val="90000"/>
              </a:lnSpc>
              <a:spcBef>
                <a:spcPts val="800"/>
              </a:spcBef>
            </a:pPr>
            <a:r>
              <a:rPr lang="en-US" dirty="0"/>
              <a:t>Model and Targets Repo</a:t>
            </a:r>
          </a:p>
          <a:p>
            <a:pPr algn="l">
              <a:lnSpc>
                <a:spcPct val="90000"/>
              </a:lnSpc>
              <a:spcBef>
                <a:spcPts val="800"/>
              </a:spcBef>
            </a:pPr>
            <a:endParaRPr lang="en-US" dirty="0"/>
          </a:p>
          <a:p>
            <a:pPr>
              <a:lnSpc>
                <a:spcPct val="90000"/>
              </a:lnSpc>
              <a:spcBef>
                <a:spcPts val="800"/>
              </a:spcBef>
            </a:pPr>
            <a:r>
              <a:rPr lang="en-US" sz="2000" b="1" i="0" dirty="0" err="1">
                <a:solidFill>
                  <a:srgbClr val="3D4647"/>
                </a:solidFill>
                <a:effectLst/>
                <a:latin typeface="Arial" panose="020B0604020202020204" pitchFamily="34" charset="0"/>
              </a:rPr>
              <a:t>Thing:AutoARRepo</a:t>
            </a:r>
            <a:endParaRPr lang="en-US" sz="2000" b="1" i="0" dirty="0">
              <a:solidFill>
                <a:srgbClr val="3D4647"/>
              </a:solidFill>
              <a:effectLst/>
              <a:latin typeface="Arial" panose="020B0604020202020204" pitchFamily="34" charset="0"/>
            </a:endParaRPr>
          </a:p>
          <a:p>
            <a:pPr>
              <a:lnSpc>
                <a:spcPct val="90000"/>
              </a:lnSpc>
              <a:spcBef>
                <a:spcPts val="800"/>
              </a:spcBef>
            </a:pPr>
            <a:endParaRPr lang="en-US" altLang="en-US" sz="2000" b="1" dirty="0">
              <a:solidFill>
                <a:srgbClr val="3D4647"/>
              </a:solidFill>
              <a:latin typeface="Arial" panose="020B0604020202020204" pitchFamily="34" charset="0"/>
            </a:endParaRPr>
          </a:p>
          <a:p>
            <a:pPr>
              <a:lnSpc>
                <a:spcPct val="90000"/>
              </a:lnSpc>
              <a:spcBef>
                <a:spcPts val="800"/>
              </a:spcBef>
            </a:pPr>
            <a:r>
              <a:rPr lang="en-US" altLang="en-US" sz="2000" b="1" dirty="0" err="1">
                <a:solidFill>
                  <a:srgbClr val="3D4647"/>
                </a:solidFill>
                <a:latin typeface="Arial" panose="020B0604020202020204" pitchFamily="34" charset="0"/>
              </a:rPr>
              <a:t>Thingworxs</a:t>
            </a:r>
            <a:r>
              <a:rPr lang="en-US" altLang="en-US" sz="2000" b="1" dirty="0">
                <a:solidFill>
                  <a:srgbClr val="3D4647"/>
                </a:solidFill>
                <a:latin typeface="Arial" panose="020B0604020202020204" pitchFamily="34" charset="0"/>
              </a:rPr>
              <a:t> repo that holds</a:t>
            </a:r>
          </a:p>
          <a:p>
            <a:pPr>
              <a:lnSpc>
                <a:spcPct val="90000"/>
              </a:lnSpc>
              <a:spcBef>
                <a:spcPts val="800"/>
              </a:spcBef>
            </a:pPr>
            <a:r>
              <a:rPr lang="en-US" altLang="en-US" sz="2000" b="1" dirty="0">
                <a:solidFill>
                  <a:srgbClr val="3D4647"/>
                </a:solidFill>
                <a:latin typeface="Arial" panose="020B0604020202020204" pitchFamily="34" charset="0"/>
              </a:rPr>
              <a:t>Named Folders</a:t>
            </a:r>
          </a:p>
          <a:p>
            <a:pPr>
              <a:lnSpc>
                <a:spcPct val="90000"/>
              </a:lnSpc>
              <a:spcBef>
                <a:spcPts val="800"/>
              </a:spcBef>
            </a:pPr>
            <a:r>
              <a:rPr lang="en-US" altLang="en-US" sz="2000" b="1" dirty="0">
                <a:solidFill>
                  <a:srgbClr val="3D4647"/>
                </a:solidFill>
                <a:latin typeface="Arial" panose="020B0604020202020204" pitchFamily="34" charset="0"/>
              </a:rPr>
              <a:t>Which contain the </a:t>
            </a:r>
          </a:p>
          <a:p>
            <a:pPr>
              <a:lnSpc>
                <a:spcPct val="90000"/>
              </a:lnSpc>
              <a:spcBef>
                <a:spcPts val="800"/>
              </a:spcBef>
            </a:pPr>
            <a:r>
              <a:rPr lang="en-US" altLang="en-US" sz="2000" b="1" dirty="0">
                <a:solidFill>
                  <a:srgbClr val="3D4647"/>
                </a:solidFill>
                <a:latin typeface="Arial" panose="020B0604020202020204" pitchFamily="34" charset="0"/>
              </a:rPr>
              <a:t>Model Target data</a:t>
            </a:r>
          </a:p>
          <a:p>
            <a:pPr>
              <a:lnSpc>
                <a:spcPct val="90000"/>
              </a:lnSpc>
              <a:spcBef>
                <a:spcPts val="800"/>
              </a:spcBef>
            </a:pPr>
            <a:r>
              <a:rPr lang="en-US" altLang="en-US" sz="2000" b="1" dirty="0">
                <a:solidFill>
                  <a:srgbClr val="3D4647"/>
                </a:solidFill>
                <a:latin typeface="Arial" panose="020B0604020202020204" pitchFamily="34" charset="0"/>
              </a:rPr>
              <a:t>And Affected part models </a:t>
            </a:r>
            <a:endParaRPr lang="en-US" altLang="en-US" sz="2400" b="1" dirty="0">
              <a:latin typeface="Arial" panose="020B0604020202020204" pitchFamily="34" charset="0"/>
            </a:endParaRPr>
          </a:p>
          <a:p>
            <a:pPr>
              <a:lnSpc>
                <a:spcPct val="90000"/>
              </a:lnSpc>
              <a:spcBef>
                <a:spcPts val="800"/>
              </a:spcBef>
            </a:pPr>
            <a:endParaRPr kumimoji="0" lang="en-US" altLang="en-US" sz="2400" b="0" i="0" u="none" strike="noStrike" cap="none" normalizeH="0" baseline="0" dirty="0">
              <a:ln>
                <a:noFill/>
              </a:ln>
              <a:solidFill>
                <a:schemeClr val="tx1"/>
              </a:solidFill>
              <a:effectLst/>
              <a:latin typeface="Arial" panose="020B0604020202020204" pitchFamily="34" charset="0"/>
            </a:endParaRPr>
          </a:p>
          <a:p>
            <a:pPr>
              <a:lnSpc>
                <a:spcPct val="90000"/>
              </a:lnSpc>
              <a:spcBef>
                <a:spcPts val="800"/>
              </a:spcBef>
            </a:pPr>
            <a:r>
              <a:rPr lang="en-US" altLang="en-US" sz="2400" dirty="0">
                <a:latin typeface="Arial" panose="020B0604020202020204" pitchFamily="34" charset="0"/>
              </a:rPr>
              <a:t>Use the model target generator and place files in a folder </a:t>
            </a:r>
            <a:endParaRPr kumimoji="0" lang="en-US" altLang="en-US" sz="2400" b="0" i="0" u="none" strike="noStrike" cap="none" normalizeH="0" baseline="0" dirty="0">
              <a:ln>
                <a:noFill/>
              </a:ln>
              <a:solidFill>
                <a:schemeClr val="tx1"/>
              </a:solidFill>
              <a:effectLst/>
              <a:latin typeface="Arial" panose="020B0604020202020204" pitchFamily="34" charset="0"/>
            </a:endParaRPr>
          </a:p>
          <a:p>
            <a:pPr algn="l">
              <a:lnSpc>
                <a:spcPct val="90000"/>
              </a:lnSpc>
              <a:spcBef>
                <a:spcPts val="800"/>
              </a:spcBef>
            </a:pPr>
            <a:endParaRPr lang="en-US" dirty="0"/>
          </a:p>
        </p:txBody>
      </p:sp>
      <p:pic>
        <p:nvPicPr>
          <p:cNvPr id="7" name="Picture 6">
            <a:extLst>
              <a:ext uri="{FF2B5EF4-FFF2-40B4-BE49-F238E27FC236}">
                <a16:creationId xmlns:a16="http://schemas.microsoft.com/office/drawing/2014/main" id="{B9448C1C-E130-4FB4-3139-AC218522012C}"/>
              </a:ext>
            </a:extLst>
          </p:cNvPr>
          <p:cNvPicPr>
            <a:picLocks noChangeAspect="1"/>
          </p:cNvPicPr>
          <p:nvPr/>
        </p:nvPicPr>
        <p:blipFill>
          <a:blip r:embed="rId8"/>
          <a:stretch>
            <a:fillRect/>
          </a:stretch>
        </p:blipFill>
        <p:spPr>
          <a:xfrm>
            <a:off x="2913357" y="6179826"/>
            <a:ext cx="2258347" cy="481921"/>
          </a:xfrm>
          <a:prstGeom prst="rect">
            <a:avLst/>
          </a:prstGeom>
        </p:spPr>
      </p:pic>
    </p:spTree>
    <p:extLst>
      <p:ext uri="{BB962C8B-B14F-4D97-AF65-F5344CB8AC3E}">
        <p14:creationId xmlns:p14="http://schemas.microsoft.com/office/powerpoint/2010/main" val="301221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56EF0B-E851-87AD-658F-A7A925D32A73}"/>
              </a:ext>
            </a:extLst>
          </p:cNvPr>
          <p:cNvSpPr>
            <a:spLocks noGrp="1"/>
          </p:cNvSpPr>
          <p:nvPr>
            <p:ph type="title"/>
          </p:nvPr>
        </p:nvSpPr>
        <p:spPr/>
        <p:txBody>
          <a:bodyPr/>
          <a:lstStyle/>
          <a:p>
            <a:r>
              <a:rPr lang="en-US" dirty="0"/>
              <a:t>Demonstration on device</a:t>
            </a:r>
          </a:p>
        </p:txBody>
      </p:sp>
      <p:pic>
        <p:nvPicPr>
          <p:cNvPr id="4" name="locator">
            <a:hlinkClick r:id="" action="ppaction://media"/>
            <a:extLst>
              <a:ext uri="{FF2B5EF4-FFF2-40B4-BE49-F238E27FC236}">
                <a16:creationId xmlns:a16="http://schemas.microsoft.com/office/drawing/2014/main" id="{C479E995-0C0D-57AC-7969-6085F60DD850}"/>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1189709" y="1047506"/>
            <a:ext cx="9519569" cy="5354758"/>
          </a:xfrm>
          <a:prstGeom prst="rect">
            <a:avLst/>
          </a:prstGeom>
        </p:spPr>
      </p:pic>
    </p:spTree>
    <p:extLst>
      <p:ext uri="{BB962C8B-B14F-4D97-AF65-F5344CB8AC3E}">
        <p14:creationId xmlns:p14="http://schemas.microsoft.com/office/powerpoint/2010/main" val="29447391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20836"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3FCD94-E7D3-3D2F-7167-6FBEAF052B1F}"/>
              </a:ext>
            </a:extLst>
          </p:cNvPr>
          <p:cNvSpPr>
            <a:spLocks noGrp="1"/>
          </p:cNvSpPr>
          <p:nvPr>
            <p:ph type="title"/>
          </p:nvPr>
        </p:nvSpPr>
        <p:spPr/>
        <p:txBody>
          <a:bodyPr/>
          <a:lstStyle/>
          <a:p>
            <a:r>
              <a:rPr lang="en-US" dirty="0"/>
              <a:t>Installation</a:t>
            </a:r>
          </a:p>
        </p:txBody>
      </p:sp>
      <p:sp>
        <p:nvSpPr>
          <p:cNvPr id="3" name="TextBox 2">
            <a:extLst>
              <a:ext uri="{FF2B5EF4-FFF2-40B4-BE49-F238E27FC236}">
                <a16:creationId xmlns:a16="http://schemas.microsoft.com/office/drawing/2014/main" id="{6333E4BE-8E7F-8AD0-D817-667D1ECE6BAD}"/>
              </a:ext>
            </a:extLst>
          </p:cNvPr>
          <p:cNvSpPr txBox="1"/>
          <p:nvPr/>
        </p:nvSpPr>
        <p:spPr>
          <a:xfrm>
            <a:off x="753762" y="1239796"/>
            <a:ext cx="10684476" cy="5618204"/>
          </a:xfrm>
          <a:prstGeom prst="rect">
            <a:avLst/>
          </a:prstGeom>
          <a:ln w="9525">
            <a:noFill/>
          </a:ln>
        </p:spPr>
        <p:txBody>
          <a:bodyPr vert="horz" wrap="square" lIns="45720" tIns="45720" rIns="45720" bIns="45720" rtlCol="0">
            <a:noAutofit/>
          </a:bodyPr>
          <a:lstStyle/>
          <a:p>
            <a:pPr algn="l">
              <a:lnSpc>
                <a:spcPct val="90000"/>
              </a:lnSpc>
              <a:spcBef>
                <a:spcPts val="800"/>
              </a:spcBef>
            </a:pPr>
            <a:r>
              <a:rPr lang="en-US" dirty="0"/>
              <a:t>The </a:t>
            </a:r>
            <a:r>
              <a:rPr lang="en-US" b="0" i="0" dirty="0" err="1">
                <a:solidFill>
                  <a:srgbClr val="3D4647"/>
                </a:solidFill>
                <a:effectLst/>
                <a:latin typeface="Arial" panose="020B0604020202020204" pitchFamily="34" charset="0"/>
              </a:rPr>
              <a:t>CreoViewRWHelper</a:t>
            </a:r>
            <a:r>
              <a:rPr lang="en-US" b="0" i="0" dirty="0">
                <a:solidFill>
                  <a:srgbClr val="3D4647"/>
                </a:solidFill>
                <a:effectLst/>
                <a:latin typeface="Arial" panose="020B0604020202020204" pitchFamily="34" charset="0"/>
              </a:rPr>
              <a:t> extension is required to be installed</a:t>
            </a:r>
          </a:p>
          <a:p>
            <a:pPr algn="l">
              <a:lnSpc>
                <a:spcPct val="90000"/>
              </a:lnSpc>
              <a:spcBef>
                <a:spcPts val="800"/>
              </a:spcBef>
            </a:pPr>
            <a:r>
              <a:rPr lang="en-US" b="0" i="0" dirty="0">
                <a:solidFill>
                  <a:srgbClr val="3D4647"/>
                </a:solidFill>
                <a:effectLst/>
                <a:latin typeface="Arial" panose="020B0604020202020204" pitchFamily="34" charset="0"/>
                <a:hlinkClick r:id="rId2"/>
              </a:rPr>
              <a:t>https://github.com/mvonhasselbach/CreoViewRWExtension/releases</a:t>
            </a:r>
            <a:endParaRPr lang="en-US" dirty="0">
              <a:solidFill>
                <a:srgbClr val="3D4647"/>
              </a:solidFill>
              <a:latin typeface="Arial" panose="020B0604020202020204" pitchFamily="34" charset="0"/>
            </a:endParaRPr>
          </a:p>
          <a:p>
            <a:pPr algn="l">
              <a:lnSpc>
                <a:spcPct val="90000"/>
              </a:lnSpc>
              <a:spcBef>
                <a:spcPts val="800"/>
              </a:spcBef>
            </a:pPr>
            <a:endParaRPr lang="en-US" dirty="0">
              <a:solidFill>
                <a:srgbClr val="3D4647"/>
              </a:solidFill>
              <a:latin typeface="Arial" panose="020B0604020202020204" pitchFamily="34" charset="0"/>
            </a:endParaRPr>
          </a:p>
          <a:p>
            <a:pPr algn="l">
              <a:lnSpc>
                <a:spcPct val="90000"/>
              </a:lnSpc>
              <a:spcBef>
                <a:spcPts val="800"/>
              </a:spcBef>
            </a:pPr>
            <a:r>
              <a:rPr lang="en-US" b="0" i="0" dirty="0">
                <a:solidFill>
                  <a:srgbClr val="3D4647"/>
                </a:solidFill>
                <a:effectLst/>
                <a:latin typeface="Arial" panose="020B0604020202020204" pitchFamily="34" charset="0"/>
              </a:rPr>
              <a:t>ARAutoEntities.xml</a:t>
            </a:r>
            <a:r>
              <a:rPr lang="en-US" dirty="0">
                <a:solidFill>
                  <a:srgbClr val="3D4647"/>
                </a:solidFill>
                <a:latin typeface="Arial" panose="020B0604020202020204" pitchFamily="34" charset="0"/>
              </a:rPr>
              <a:t> entities need to be imported</a:t>
            </a:r>
          </a:p>
          <a:p>
            <a:pPr algn="l">
              <a:lnSpc>
                <a:spcPct val="90000"/>
              </a:lnSpc>
              <a:spcBef>
                <a:spcPts val="800"/>
              </a:spcBef>
            </a:pPr>
            <a:endParaRPr lang="en-US" dirty="0">
              <a:solidFill>
                <a:srgbClr val="3D4647"/>
              </a:solidFill>
              <a:latin typeface="Arial" panose="020B0604020202020204" pitchFamily="34" charset="0"/>
            </a:endParaRPr>
          </a:p>
          <a:p>
            <a:pPr algn="l">
              <a:lnSpc>
                <a:spcPct val="90000"/>
              </a:lnSpc>
              <a:spcBef>
                <a:spcPts val="800"/>
              </a:spcBef>
            </a:pPr>
            <a:r>
              <a:rPr lang="en-US" dirty="0">
                <a:solidFill>
                  <a:srgbClr val="3D4647"/>
                </a:solidFill>
                <a:latin typeface="Arial" panose="020B0604020202020204" pitchFamily="34" charset="0"/>
              </a:rPr>
              <a:t>Create a test folder in the </a:t>
            </a:r>
            <a:r>
              <a:rPr lang="en-US" b="1" i="0" dirty="0" err="1">
                <a:solidFill>
                  <a:srgbClr val="3D4647"/>
                </a:solidFill>
                <a:effectLst/>
                <a:latin typeface="Arial" panose="020B0604020202020204" pitchFamily="34" charset="0"/>
              </a:rPr>
              <a:t>Thing:AutoARRepo</a:t>
            </a:r>
            <a:r>
              <a:rPr lang="en-US" b="1" i="0" dirty="0">
                <a:solidFill>
                  <a:srgbClr val="3D4647"/>
                </a:solidFill>
                <a:effectLst/>
                <a:latin typeface="Arial" panose="020B0604020202020204" pitchFamily="34" charset="0"/>
              </a:rPr>
              <a:t> </a:t>
            </a:r>
          </a:p>
          <a:p>
            <a:pPr algn="l">
              <a:lnSpc>
                <a:spcPct val="90000"/>
              </a:lnSpc>
              <a:spcBef>
                <a:spcPts val="800"/>
              </a:spcBef>
            </a:pPr>
            <a:endParaRPr lang="en-US" b="1" dirty="0">
              <a:solidFill>
                <a:srgbClr val="3D4647"/>
              </a:solidFill>
              <a:latin typeface="Arial" panose="020B0604020202020204" pitchFamily="34" charset="0"/>
            </a:endParaRPr>
          </a:p>
          <a:p>
            <a:pPr algn="l">
              <a:lnSpc>
                <a:spcPct val="90000"/>
              </a:lnSpc>
              <a:spcBef>
                <a:spcPts val="800"/>
              </a:spcBef>
            </a:pPr>
            <a:r>
              <a:rPr lang="en-US" dirty="0">
                <a:solidFill>
                  <a:srgbClr val="3D4647"/>
                </a:solidFill>
                <a:latin typeface="Arial" panose="020B0604020202020204" pitchFamily="34" charset="0"/>
              </a:rPr>
              <a:t>Copy Polaris files to the  D:\ThingWorx\ThingworxStorage\repository\AutoARRepo</a:t>
            </a:r>
          </a:p>
          <a:p>
            <a:pPr algn="l">
              <a:lnSpc>
                <a:spcPct val="90000"/>
              </a:lnSpc>
              <a:spcBef>
                <a:spcPts val="800"/>
              </a:spcBef>
            </a:pPr>
            <a:endParaRPr lang="en-US" dirty="0">
              <a:solidFill>
                <a:srgbClr val="3D4647"/>
              </a:solidFill>
              <a:latin typeface="Arial" panose="020B0604020202020204" pitchFamily="34" charset="0"/>
            </a:endParaRPr>
          </a:p>
          <a:p>
            <a:pPr algn="l">
              <a:lnSpc>
                <a:spcPct val="90000"/>
              </a:lnSpc>
              <a:spcBef>
                <a:spcPts val="800"/>
              </a:spcBef>
            </a:pPr>
            <a:r>
              <a:rPr lang="en-US" dirty="0">
                <a:solidFill>
                  <a:srgbClr val="3D4647"/>
                </a:solidFill>
                <a:latin typeface="Arial" panose="020B0604020202020204" pitchFamily="34" charset="0"/>
              </a:rPr>
              <a:t>Run </a:t>
            </a:r>
            <a:r>
              <a:rPr lang="en-US" dirty="0" err="1">
                <a:solidFill>
                  <a:srgbClr val="3D4647"/>
                </a:solidFill>
                <a:latin typeface="Arial" panose="020B0604020202020204" pitchFamily="34" charset="0"/>
              </a:rPr>
              <a:t>BuildData</a:t>
            </a:r>
            <a:r>
              <a:rPr lang="en-US" dirty="0">
                <a:solidFill>
                  <a:srgbClr val="3D4647"/>
                </a:solidFill>
                <a:latin typeface="Arial" panose="020B0604020202020204" pitchFamily="34" charset="0"/>
              </a:rPr>
              <a:t> service  from </a:t>
            </a:r>
            <a:r>
              <a:rPr lang="en-US" b="1" i="0" dirty="0">
                <a:solidFill>
                  <a:srgbClr val="3D4647"/>
                </a:solidFill>
                <a:effectLst/>
                <a:latin typeface="Arial" panose="020B0604020202020204" pitchFamily="34" charset="0"/>
              </a:rPr>
              <a:t>Data </a:t>
            </a:r>
            <a:r>
              <a:rPr lang="en-US" b="1" i="0" dirty="0" err="1">
                <a:solidFill>
                  <a:srgbClr val="3D4647"/>
                </a:solidFill>
                <a:effectLst/>
                <a:latin typeface="Arial" panose="020B0604020202020204" pitchFamily="34" charset="0"/>
              </a:rPr>
              <a:t>Table:AutoARHeroPart_DT</a:t>
            </a:r>
            <a:endParaRPr lang="en-US" dirty="0">
              <a:solidFill>
                <a:srgbClr val="3D4647"/>
              </a:solidFill>
              <a:latin typeface="Arial" panose="020B0604020202020204" pitchFamily="34" charset="0"/>
            </a:endParaRPr>
          </a:p>
        </p:txBody>
      </p:sp>
    </p:spTree>
    <p:extLst>
      <p:ext uri="{BB962C8B-B14F-4D97-AF65-F5344CB8AC3E}">
        <p14:creationId xmlns:p14="http://schemas.microsoft.com/office/powerpoint/2010/main" val="3164664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561711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E7EC916-82A4-48AD-A59F-60F2C8D2353A}"/>
              </a:ext>
            </a:extLst>
          </p:cNvPr>
          <p:cNvSpPr>
            <a:spLocks noGrp="1"/>
          </p:cNvSpPr>
          <p:nvPr>
            <p:ph idx="1"/>
          </p:nvPr>
        </p:nvSpPr>
        <p:spPr/>
        <p:txBody>
          <a:bodyPr/>
          <a:lstStyle/>
          <a:p>
            <a:r>
              <a:rPr lang="en-US" dirty="0"/>
              <a:t>The component locator example was originally based on an Automotive use model but could address any experience that uses the construct of a Work package that has work instructions, related models and the visual AR requirement of locating and understanding where and what the instructions are.</a:t>
            </a:r>
          </a:p>
          <a:p>
            <a:r>
              <a:rPr lang="en-US" dirty="0"/>
              <a:t>The architecture requires a data store for Work package definition, models and model targets. The implementation uses Thingworx Data tables, services and Repo as the physical data store.</a:t>
            </a:r>
          </a:p>
          <a:p>
            <a:r>
              <a:rPr lang="en-US" dirty="0"/>
              <a:t>Additionally, a Vuforia Experience server and View as the mobile app (This solution has not be designed for </a:t>
            </a:r>
            <a:r>
              <a:rPr lang="en-US" dirty="0" err="1"/>
              <a:t>Hololens</a:t>
            </a:r>
            <a:r>
              <a:rPr lang="en-US" dirty="0"/>
              <a:t> although with some work on the UI it could be possible. )</a:t>
            </a:r>
          </a:p>
        </p:txBody>
      </p:sp>
      <p:sp>
        <p:nvSpPr>
          <p:cNvPr id="3" name="Title 2">
            <a:extLst>
              <a:ext uri="{FF2B5EF4-FFF2-40B4-BE49-F238E27FC236}">
                <a16:creationId xmlns:a16="http://schemas.microsoft.com/office/drawing/2014/main" id="{9E6BEEB3-DE21-4DAC-8B1F-3DEB69A0FBBC}"/>
              </a:ext>
            </a:extLst>
          </p:cNvPr>
          <p:cNvSpPr>
            <a:spLocks noGrp="1"/>
          </p:cNvSpPr>
          <p:nvPr>
            <p:ph type="title"/>
          </p:nvPr>
        </p:nvSpPr>
        <p:spPr/>
        <p:txBody>
          <a:bodyPr/>
          <a:lstStyle/>
          <a:p>
            <a:r>
              <a:rPr lang="en-US" dirty="0"/>
              <a:t>Component locator summary </a:t>
            </a:r>
          </a:p>
        </p:txBody>
      </p:sp>
    </p:spTree>
    <p:extLst>
      <p:ext uri="{BB962C8B-B14F-4D97-AF65-F5344CB8AC3E}">
        <p14:creationId xmlns:p14="http://schemas.microsoft.com/office/powerpoint/2010/main" val="752098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id="{0B645307-D55E-28F7-914E-40E97AD74BD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626" y="1394502"/>
            <a:ext cx="7048249" cy="5150646"/>
          </a:xfrm>
          <a:prstGeom prst="rect">
            <a:avLst/>
          </a:prstGeom>
        </p:spPr>
      </p:pic>
      <p:sp>
        <p:nvSpPr>
          <p:cNvPr id="3" name="Title 2">
            <a:extLst>
              <a:ext uri="{FF2B5EF4-FFF2-40B4-BE49-F238E27FC236}">
                <a16:creationId xmlns:a16="http://schemas.microsoft.com/office/drawing/2014/main" id="{0DB438DF-B661-A274-BCF9-1BEEC8539843}"/>
              </a:ext>
            </a:extLst>
          </p:cNvPr>
          <p:cNvSpPr>
            <a:spLocks noGrp="1"/>
          </p:cNvSpPr>
          <p:nvPr>
            <p:ph type="title"/>
          </p:nvPr>
        </p:nvSpPr>
        <p:spPr/>
        <p:txBody>
          <a:bodyPr/>
          <a:lstStyle/>
          <a:p>
            <a:r>
              <a:rPr lang="en-US" dirty="0"/>
              <a:t>Component locator</a:t>
            </a:r>
          </a:p>
        </p:txBody>
      </p:sp>
      <p:pic>
        <p:nvPicPr>
          <p:cNvPr id="4" name="Content Placeholder 3">
            <a:extLst>
              <a:ext uri="{FF2B5EF4-FFF2-40B4-BE49-F238E27FC236}">
                <a16:creationId xmlns:a16="http://schemas.microsoft.com/office/drawing/2014/main" id="{932D52E4-2885-4CC8-7028-8BEC335F4A19}"/>
              </a:ext>
            </a:extLst>
          </p:cNvPr>
          <p:cNvPicPr>
            <a:picLocks noGrp="1" noChangeAspect="1"/>
          </p:cNvPicPr>
          <p:nvPr>
            <p:ph idx="1"/>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230613" y="1262691"/>
            <a:ext cx="2924175" cy="790575"/>
          </a:xfrm>
          <a:prstGeom prst="rect">
            <a:avLst/>
          </a:prstGeom>
        </p:spPr>
      </p:pic>
      <p:pic>
        <p:nvPicPr>
          <p:cNvPr id="5" name="Graphic 4">
            <a:extLst>
              <a:ext uri="{FF2B5EF4-FFF2-40B4-BE49-F238E27FC236}">
                <a16:creationId xmlns:a16="http://schemas.microsoft.com/office/drawing/2014/main" id="{B1E74651-0117-585D-B542-98735F07F93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906247" y="2996231"/>
            <a:ext cx="3296795" cy="685800"/>
          </a:xfrm>
          <a:prstGeom prst="rect">
            <a:avLst/>
          </a:prstGeom>
        </p:spPr>
      </p:pic>
      <p:pic>
        <p:nvPicPr>
          <p:cNvPr id="8" name="Picture 7">
            <a:extLst>
              <a:ext uri="{FF2B5EF4-FFF2-40B4-BE49-F238E27FC236}">
                <a16:creationId xmlns:a16="http://schemas.microsoft.com/office/drawing/2014/main" id="{EAFD8268-947C-A6BB-4294-F168C1A97C01}"/>
              </a:ext>
            </a:extLst>
          </p:cNvPr>
          <p:cNvPicPr>
            <a:picLocks noChangeAspect="1"/>
          </p:cNvPicPr>
          <p:nvPr/>
        </p:nvPicPr>
        <p:blipFill>
          <a:blip r:embed="rId8"/>
          <a:stretch>
            <a:fillRect/>
          </a:stretch>
        </p:blipFill>
        <p:spPr>
          <a:xfrm>
            <a:off x="1301404" y="1856386"/>
            <a:ext cx="4619179" cy="2279691"/>
          </a:xfrm>
          <a:prstGeom prst="rect">
            <a:avLst/>
          </a:prstGeom>
        </p:spPr>
      </p:pic>
      <p:pic>
        <p:nvPicPr>
          <p:cNvPr id="10" name="Picture 9">
            <a:extLst>
              <a:ext uri="{FF2B5EF4-FFF2-40B4-BE49-F238E27FC236}">
                <a16:creationId xmlns:a16="http://schemas.microsoft.com/office/drawing/2014/main" id="{9D259E9D-2483-A949-10DC-133E65090887}"/>
              </a:ext>
            </a:extLst>
          </p:cNvPr>
          <p:cNvPicPr>
            <a:picLocks noChangeAspect="1"/>
          </p:cNvPicPr>
          <p:nvPr/>
        </p:nvPicPr>
        <p:blipFill>
          <a:blip r:embed="rId9"/>
          <a:stretch>
            <a:fillRect/>
          </a:stretch>
        </p:blipFill>
        <p:spPr>
          <a:xfrm>
            <a:off x="949242" y="4222307"/>
            <a:ext cx="5237208" cy="1338835"/>
          </a:xfrm>
          <a:prstGeom prst="rect">
            <a:avLst/>
          </a:prstGeom>
        </p:spPr>
      </p:pic>
      <p:sp>
        <p:nvSpPr>
          <p:cNvPr id="13" name="TextBox 12">
            <a:extLst>
              <a:ext uri="{FF2B5EF4-FFF2-40B4-BE49-F238E27FC236}">
                <a16:creationId xmlns:a16="http://schemas.microsoft.com/office/drawing/2014/main" id="{DDDFC713-4B1F-F01A-1082-D324E020D832}"/>
              </a:ext>
            </a:extLst>
          </p:cNvPr>
          <p:cNvSpPr txBox="1"/>
          <p:nvPr/>
        </p:nvSpPr>
        <p:spPr>
          <a:xfrm>
            <a:off x="8962845" y="2053266"/>
            <a:ext cx="1664898" cy="480422"/>
          </a:xfrm>
          <a:prstGeom prst="rect">
            <a:avLst/>
          </a:prstGeom>
          <a:ln w="9525">
            <a:noFill/>
          </a:ln>
        </p:spPr>
        <p:txBody>
          <a:bodyPr vert="horz" wrap="square" lIns="45720" tIns="45720" rIns="45720" bIns="45720" rtlCol="0">
            <a:noAutofit/>
          </a:bodyPr>
          <a:lstStyle/>
          <a:p>
            <a:pPr algn="l">
              <a:lnSpc>
                <a:spcPct val="90000"/>
              </a:lnSpc>
              <a:spcBef>
                <a:spcPts val="800"/>
              </a:spcBef>
            </a:pPr>
            <a:endParaRPr lang="en-US" dirty="0" err="1"/>
          </a:p>
        </p:txBody>
      </p:sp>
      <p:sp>
        <p:nvSpPr>
          <p:cNvPr id="14" name="TextBox 13">
            <a:extLst>
              <a:ext uri="{FF2B5EF4-FFF2-40B4-BE49-F238E27FC236}">
                <a16:creationId xmlns:a16="http://schemas.microsoft.com/office/drawing/2014/main" id="{4395C9C2-36D7-807C-216C-1F23466D5471}"/>
              </a:ext>
            </a:extLst>
          </p:cNvPr>
          <p:cNvSpPr txBox="1"/>
          <p:nvPr/>
        </p:nvSpPr>
        <p:spPr>
          <a:xfrm>
            <a:off x="8349653" y="2053266"/>
            <a:ext cx="3175237" cy="543285"/>
          </a:xfrm>
          <a:prstGeom prst="rect">
            <a:avLst/>
          </a:prstGeom>
          <a:ln w="9525">
            <a:noFill/>
          </a:ln>
        </p:spPr>
        <p:txBody>
          <a:bodyPr vert="horz" wrap="square" lIns="45720" tIns="45720" rIns="45720" bIns="45720" rtlCol="0">
            <a:noAutofit/>
          </a:bodyPr>
          <a:lstStyle/>
          <a:p>
            <a:pPr algn="l">
              <a:lnSpc>
                <a:spcPct val="90000"/>
              </a:lnSpc>
              <a:spcBef>
                <a:spcPts val="800"/>
              </a:spcBef>
            </a:pPr>
            <a:r>
              <a:rPr lang="en-US" dirty="0"/>
              <a:t>Experience Server</a:t>
            </a:r>
          </a:p>
        </p:txBody>
      </p:sp>
      <p:sp>
        <p:nvSpPr>
          <p:cNvPr id="15" name="TextBox 14">
            <a:extLst>
              <a:ext uri="{FF2B5EF4-FFF2-40B4-BE49-F238E27FC236}">
                <a16:creationId xmlns:a16="http://schemas.microsoft.com/office/drawing/2014/main" id="{5B247CD2-2A7E-2CBB-49DF-B901252B18C0}"/>
              </a:ext>
            </a:extLst>
          </p:cNvPr>
          <p:cNvSpPr txBox="1"/>
          <p:nvPr/>
        </p:nvSpPr>
        <p:spPr>
          <a:xfrm>
            <a:off x="8866781" y="3785113"/>
            <a:ext cx="2708468" cy="2010444"/>
          </a:xfrm>
          <a:prstGeom prst="rect">
            <a:avLst/>
          </a:prstGeom>
          <a:ln w="9525">
            <a:noFill/>
          </a:ln>
        </p:spPr>
        <p:txBody>
          <a:bodyPr vert="horz" wrap="square" lIns="45720" tIns="45720" rIns="45720" bIns="45720" rtlCol="0">
            <a:noAutofit/>
          </a:bodyPr>
          <a:lstStyle/>
          <a:p>
            <a:pPr algn="l">
              <a:lnSpc>
                <a:spcPct val="90000"/>
              </a:lnSpc>
              <a:spcBef>
                <a:spcPts val="800"/>
              </a:spcBef>
            </a:pPr>
            <a:r>
              <a:rPr lang="en-US" dirty="0"/>
              <a:t>Work Instructions</a:t>
            </a:r>
          </a:p>
          <a:p>
            <a:pPr algn="l">
              <a:lnSpc>
                <a:spcPct val="90000"/>
              </a:lnSpc>
              <a:spcBef>
                <a:spcPts val="800"/>
              </a:spcBef>
            </a:pPr>
            <a:endParaRPr lang="en-US" dirty="0"/>
          </a:p>
          <a:p>
            <a:pPr algn="l">
              <a:lnSpc>
                <a:spcPct val="90000"/>
              </a:lnSpc>
              <a:spcBef>
                <a:spcPts val="800"/>
              </a:spcBef>
            </a:pPr>
            <a:r>
              <a:rPr lang="en-US" dirty="0"/>
              <a:t>Service requests</a:t>
            </a:r>
          </a:p>
          <a:p>
            <a:pPr algn="l">
              <a:lnSpc>
                <a:spcPct val="90000"/>
              </a:lnSpc>
              <a:spcBef>
                <a:spcPts val="800"/>
              </a:spcBef>
            </a:pPr>
            <a:endParaRPr lang="en-US" dirty="0"/>
          </a:p>
          <a:p>
            <a:pPr algn="l">
              <a:lnSpc>
                <a:spcPct val="90000"/>
              </a:lnSpc>
              <a:spcBef>
                <a:spcPts val="800"/>
              </a:spcBef>
            </a:pPr>
            <a:r>
              <a:rPr lang="en-US" dirty="0"/>
              <a:t>Model and Targets Repo</a:t>
            </a:r>
          </a:p>
        </p:txBody>
      </p:sp>
      <p:pic>
        <p:nvPicPr>
          <p:cNvPr id="16" name="Graphic 15">
            <a:extLst>
              <a:ext uri="{FF2B5EF4-FFF2-40B4-BE49-F238E27FC236}">
                <a16:creationId xmlns:a16="http://schemas.microsoft.com/office/drawing/2014/main" id="{458AF581-599D-0A32-CC3C-A607CCF1169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107515" y="3886502"/>
            <a:ext cx="336676" cy="419940"/>
          </a:xfrm>
          <a:prstGeom prst="rect">
            <a:avLst/>
          </a:prstGeom>
        </p:spPr>
      </p:pic>
      <p:pic>
        <p:nvPicPr>
          <p:cNvPr id="17" name="Graphic 16">
            <a:extLst>
              <a:ext uri="{FF2B5EF4-FFF2-40B4-BE49-F238E27FC236}">
                <a16:creationId xmlns:a16="http://schemas.microsoft.com/office/drawing/2014/main" id="{CD107A82-B273-5DE3-4951-C61B2D6B529F}"/>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079872" y="4580365"/>
            <a:ext cx="599115" cy="419940"/>
          </a:xfrm>
          <a:prstGeom prst="rect">
            <a:avLst/>
          </a:prstGeom>
        </p:spPr>
      </p:pic>
      <p:pic>
        <p:nvPicPr>
          <p:cNvPr id="18" name="Graphic 17">
            <a:extLst>
              <a:ext uri="{FF2B5EF4-FFF2-40B4-BE49-F238E27FC236}">
                <a16:creationId xmlns:a16="http://schemas.microsoft.com/office/drawing/2014/main" id="{C86DC3E8-6387-A55A-864A-E0CD87BDB648}"/>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8107515" y="5505344"/>
            <a:ext cx="594646" cy="414128"/>
          </a:xfrm>
          <a:prstGeom prst="rect">
            <a:avLst/>
          </a:prstGeom>
        </p:spPr>
      </p:pic>
    </p:spTree>
    <p:extLst>
      <p:ext uri="{BB962C8B-B14F-4D97-AF65-F5344CB8AC3E}">
        <p14:creationId xmlns:p14="http://schemas.microsoft.com/office/powerpoint/2010/main" val="325485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DEF4EE3-22B0-BB6E-7541-6C4228B99B16}"/>
              </a:ext>
            </a:extLst>
          </p:cNvPr>
          <p:cNvSpPr>
            <a:spLocks noGrp="1"/>
          </p:cNvSpPr>
          <p:nvPr>
            <p:ph type="title"/>
          </p:nvPr>
        </p:nvSpPr>
        <p:spPr/>
        <p:txBody>
          <a:bodyPr/>
          <a:lstStyle/>
          <a:p>
            <a:r>
              <a:rPr lang="en-US" dirty="0"/>
              <a:t>implementation SUMMARY</a:t>
            </a:r>
          </a:p>
        </p:txBody>
      </p:sp>
      <p:sp>
        <p:nvSpPr>
          <p:cNvPr id="7" name="Content Placeholder 1">
            <a:extLst>
              <a:ext uri="{FF2B5EF4-FFF2-40B4-BE49-F238E27FC236}">
                <a16:creationId xmlns:a16="http://schemas.microsoft.com/office/drawing/2014/main" id="{38E3DAF4-19D6-BD3C-7628-1826274F4983}"/>
              </a:ext>
            </a:extLst>
          </p:cNvPr>
          <p:cNvSpPr txBox="1">
            <a:spLocks/>
          </p:cNvSpPr>
          <p:nvPr/>
        </p:nvSpPr>
        <p:spPr>
          <a:xfrm>
            <a:off x="490760" y="1709928"/>
            <a:ext cx="10789920" cy="4572000"/>
          </a:xfrm>
          <a:prstGeom prst="rect">
            <a:avLst/>
          </a:prstGeom>
        </p:spPr>
        <p:txBody>
          <a:bodyPr/>
          <a:lstStyle>
            <a:lvl1pPr marL="342900" indent="-342900" algn="l" defTabSz="1086775" rtl="0" eaLnBrk="1" latinLnBrk="0" hangingPunct="1">
              <a:lnSpc>
                <a:spcPct val="90000"/>
              </a:lnSpc>
              <a:spcBef>
                <a:spcPts val="1800"/>
              </a:spcBef>
              <a:buClr>
                <a:schemeClr val="bg2"/>
              </a:buClr>
              <a:buFontTx/>
              <a:buBlip>
                <a:blip r:embed="rId2">
                  <a:extLst>
                    <a:ext uri="{96DAC541-7B7A-43D3-8B79-37D633B846F1}">
                      <asvg:svgBlip xmlns:asvg="http://schemas.microsoft.com/office/drawing/2016/SVG/main" r:embed="rId3"/>
                    </a:ext>
                  </a:extLst>
                </a:blip>
              </a:buBlip>
              <a:defRPr sz="2400" kern="1200">
                <a:solidFill>
                  <a:schemeClr val="tx1"/>
                </a:solidFill>
                <a:latin typeface="+mn-lt"/>
                <a:ea typeface="+mn-ea"/>
                <a:cs typeface="+mn-cs"/>
              </a:defRPr>
            </a:lvl1pPr>
            <a:lvl2pPr marL="640080" indent="-274320" algn="l" defTabSz="1086775" rtl="0" eaLnBrk="1" latinLnBrk="0" hangingPunct="1">
              <a:lnSpc>
                <a:spcPct val="90000"/>
              </a:lnSpc>
              <a:spcBef>
                <a:spcPts val="400"/>
              </a:spcBef>
              <a:spcAft>
                <a:spcPts val="0"/>
              </a:spcAft>
              <a:buClr>
                <a:schemeClr val="tx1"/>
              </a:buClr>
              <a:buSzPct val="100000"/>
              <a:buFontTx/>
              <a:buBlip>
                <a:blip r:embed="rId4"/>
              </a:buBlip>
              <a:defRPr sz="2000" kern="1200">
                <a:solidFill>
                  <a:schemeClr val="tx1"/>
                </a:solidFill>
                <a:latin typeface="+mn-lt"/>
                <a:ea typeface="+mn-ea"/>
                <a:cs typeface="+mn-cs"/>
              </a:defRPr>
            </a:lvl2pPr>
            <a:lvl3pPr marL="932688" indent="-274320" algn="l" defTabSz="1290546" rtl="0" eaLnBrk="1" latinLnBrk="0" hangingPunct="1">
              <a:lnSpc>
                <a:spcPct val="90000"/>
              </a:lnSpc>
              <a:spcBef>
                <a:spcPts val="200"/>
              </a:spcBef>
              <a:spcAft>
                <a:spcPts val="0"/>
              </a:spcAft>
              <a:buClr>
                <a:schemeClr val="tx1"/>
              </a:buClr>
              <a:buFontTx/>
              <a:buBlip>
                <a:blip r:embed="rId5"/>
              </a:buBlip>
              <a:defRPr sz="1800" kern="1200">
                <a:solidFill>
                  <a:schemeClr val="tx1"/>
                </a:solidFill>
                <a:latin typeface="+mn-lt"/>
                <a:ea typeface="+mn-ea"/>
                <a:cs typeface="+mn-cs"/>
              </a:defRPr>
            </a:lvl3pPr>
            <a:lvl4pPr marL="1188720" indent="-228600" algn="l" defTabSz="1086775" rtl="0" eaLnBrk="1" latinLnBrk="0" hangingPunct="1">
              <a:lnSpc>
                <a:spcPct val="90000"/>
              </a:lnSpc>
              <a:spcBef>
                <a:spcPts val="200"/>
              </a:spcBef>
              <a:spcAft>
                <a:spcPts val="0"/>
              </a:spcAft>
              <a:buClr>
                <a:schemeClr val="tx1"/>
              </a:buClr>
              <a:buSzPct val="100000"/>
              <a:buFontTx/>
              <a:buBlip>
                <a:blip r:embed="rId6"/>
              </a:buBlip>
              <a:tabLst/>
              <a:defRPr sz="1600" kern="1200" baseline="0">
                <a:solidFill>
                  <a:schemeClr val="tx1"/>
                </a:solidFill>
                <a:latin typeface="+mn-lt"/>
                <a:ea typeface="+mn-ea"/>
                <a:cs typeface="+mn-cs"/>
              </a:defRPr>
            </a:lvl4pPr>
            <a:lvl5pPr marL="1417320" indent="-228600" algn="l" defTabSz="1086775" rtl="0" eaLnBrk="1" latinLnBrk="0" hangingPunct="1">
              <a:lnSpc>
                <a:spcPct val="90000"/>
              </a:lnSpc>
              <a:spcBef>
                <a:spcPts val="200"/>
              </a:spcBef>
              <a:spcAft>
                <a:spcPts val="0"/>
              </a:spcAft>
              <a:buClr>
                <a:schemeClr val="tx1"/>
              </a:buClr>
              <a:buFontTx/>
              <a:buBlip>
                <a:blip r:embed="rId5"/>
              </a:buBlip>
              <a:defRPr sz="1400" kern="1200" baseline="0">
                <a:solidFill>
                  <a:schemeClr val="tx1"/>
                </a:solidFill>
                <a:latin typeface="+mn-lt"/>
                <a:ea typeface="+mn-ea"/>
                <a:cs typeface="+mn-cs"/>
              </a:defRPr>
            </a:lvl5pPr>
            <a:lvl6pPr marL="2988632"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2020"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5408"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8796"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US" dirty="0"/>
              <a:t>The components of the Experience are</a:t>
            </a:r>
          </a:p>
          <a:p>
            <a:r>
              <a:rPr lang="en-US" dirty="0"/>
              <a:t>Barcode or ID to identify the start point (barcode in our case)</a:t>
            </a:r>
          </a:p>
          <a:p>
            <a:r>
              <a:rPr lang="en-US" dirty="0"/>
              <a:t>A Work Package(s) related to ID</a:t>
            </a:r>
          </a:p>
          <a:p>
            <a:pPr lvl="1"/>
            <a:r>
              <a:rPr lang="en-US" dirty="0"/>
              <a:t>Each Work Package consists of</a:t>
            </a:r>
          </a:p>
          <a:p>
            <a:pPr lvl="2"/>
            <a:r>
              <a:rPr lang="en-US" dirty="0"/>
              <a:t>Work Order summary (step 0)</a:t>
            </a:r>
          </a:p>
          <a:p>
            <a:pPr lvl="3"/>
            <a:r>
              <a:rPr lang="en-US" dirty="0"/>
              <a:t>Work Instruction per step		</a:t>
            </a:r>
          </a:p>
          <a:p>
            <a:pPr lvl="3"/>
            <a:r>
              <a:rPr lang="en-US" dirty="0"/>
              <a:t>Affected Parts(models) per step</a:t>
            </a:r>
          </a:p>
          <a:p>
            <a:pPr lvl="1"/>
            <a:endParaRPr lang="en-US" dirty="0"/>
          </a:p>
          <a:p>
            <a:pPr lvl="1"/>
            <a:endParaRPr lang="en-US" dirty="0"/>
          </a:p>
        </p:txBody>
      </p:sp>
      <p:pic>
        <p:nvPicPr>
          <p:cNvPr id="9" name="Picture 8" descr="A bar code with numbers&#10;&#10;Description automatically generated">
            <a:extLst>
              <a:ext uri="{FF2B5EF4-FFF2-40B4-BE49-F238E27FC236}">
                <a16:creationId xmlns:a16="http://schemas.microsoft.com/office/drawing/2014/main" id="{A4808ACE-3BE5-2EA3-CC74-A41A96B6F09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610440" y="1959845"/>
            <a:ext cx="2190510" cy="1155986"/>
          </a:xfrm>
          <a:prstGeom prst="rect">
            <a:avLst/>
          </a:prstGeom>
        </p:spPr>
      </p:pic>
      <p:pic>
        <p:nvPicPr>
          <p:cNvPr id="11" name="Picture 10" descr="A bar code with numbers&#10;&#10;Description automatically generated">
            <a:extLst>
              <a:ext uri="{FF2B5EF4-FFF2-40B4-BE49-F238E27FC236}">
                <a16:creationId xmlns:a16="http://schemas.microsoft.com/office/drawing/2014/main" id="{3EB1B923-6C32-9E8A-E843-FFBE6E148A4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355121" y="61353"/>
            <a:ext cx="2445829" cy="1029438"/>
          </a:xfrm>
          <a:prstGeom prst="rect">
            <a:avLst/>
          </a:prstGeom>
        </p:spPr>
      </p:pic>
      <p:pic>
        <p:nvPicPr>
          <p:cNvPr id="13" name="Picture 12">
            <a:extLst>
              <a:ext uri="{FF2B5EF4-FFF2-40B4-BE49-F238E27FC236}">
                <a16:creationId xmlns:a16="http://schemas.microsoft.com/office/drawing/2014/main" id="{857D82AD-F6FF-FB58-6E78-F5ACBD69CD3E}"/>
              </a:ext>
            </a:extLst>
          </p:cNvPr>
          <p:cNvPicPr>
            <a:picLocks noChangeAspect="1"/>
          </p:cNvPicPr>
          <p:nvPr/>
        </p:nvPicPr>
        <p:blipFill>
          <a:blip r:embed="rId9"/>
          <a:stretch>
            <a:fillRect/>
          </a:stretch>
        </p:blipFill>
        <p:spPr>
          <a:xfrm>
            <a:off x="8228396" y="102412"/>
            <a:ext cx="1431478" cy="1155986"/>
          </a:xfrm>
          <a:prstGeom prst="rect">
            <a:avLst/>
          </a:prstGeom>
        </p:spPr>
      </p:pic>
      <p:pic>
        <p:nvPicPr>
          <p:cNvPr id="17" name="Picture 16">
            <a:extLst>
              <a:ext uri="{FF2B5EF4-FFF2-40B4-BE49-F238E27FC236}">
                <a16:creationId xmlns:a16="http://schemas.microsoft.com/office/drawing/2014/main" id="{396EAE1F-8C7E-82F8-CB84-018997FCF8B8}"/>
              </a:ext>
            </a:extLst>
          </p:cNvPr>
          <p:cNvPicPr>
            <a:picLocks noChangeAspect="1"/>
          </p:cNvPicPr>
          <p:nvPr/>
        </p:nvPicPr>
        <p:blipFill>
          <a:blip r:embed="rId10"/>
          <a:stretch>
            <a:fillRect/>
          </a:stretch>
        </p:blipFill>
        <p:spPr>
          <a:xfrm>
            <a:off x="6312009" y="3447042"/>
            <a:ext cx="4968671" cy="2834886"/>
          </a:xfrm>
          <a:prstGeom prst="rect">
            <a:avLst/>
          </a:prstGeom>
        </p:spPr>
      </p:pic>
      <p:pic>
        <p:nvPicPr>
          <p:cNvPr id="18" name="Picture 17">
            <a:extLst>
              <a:ext uri="{FF2B5EF4-FFF2-40B4-BE49-F238E27FC236}">
                <a16:creationId xmlns:a16="http://schemas.microsoft.com/office/drawing/2014/main" id="{4E6F217A-DEEE-D311-DCE3-C16038CFF033}"/>
              </a:ext>
            </a:extLst>
          </p:cNvPr>
          <p:cNvPicPr>
            <a:picLocks noChangeAspect="1"/>
          </p:cNvPicPr>
          <p:nvPr/>
        </p:nvPicPr>
        <p:blipFill>
          <a:blip r:embed="rId11"/>
          <a:stretch>
            <a:fillRect/>
          </a:stretch>
        </p:blipFill>
        <p:spPr>
          <a:xfrm>
            <a:off x="642784" y="4943093"/>
            <a:ext cx="5237208" cy="1338835"/>
          </a:xfrm>
          <a:prstGeom prst="rect">
            <a:avLst/>
          </a:prstGeom>
        </p:spPr>
      </p:pic>
    </p:spTree>
    <p:extLst>
      <p:ext uri="{BB962C8B-B14F-4D97-AF65-F5344CB8AC3E}">
        <p14:creationId xmlns:p14="http://schemas.microsoft.com/office/powerpoint/2010/main" val="986322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7DDACF-B382-F61E-5D49-543936299D93}"/>
              </a:ext>
            </a:extLst>
          </p:cNvPr>
          <p:cNvSpPr>
            <a:spLocks noGrp="1"/>
          </p:cNvSpPr>
          <p:nvPr>
            <p:ph type="title"/>
          </p:nvPr>
        </p:nvSpPr>
        <p:spPr>
          <a:xfrm>
            <a:off x="1659160" y="235564"/>
            <a:ext cx="4102986" cy="369332"/>
          </a:xfrm>
        </p:spPr>
        <p:txBody>
          <a:bodyPr/>
          <a:lstStyle/>
          <a:p>
            <a:r>
              <a:rPr lang="en-US" dirty="0"/>
              <a:t>IMPLEMENT DETAILS</a:t>
            </a:r>
          </a:p>
        </p:txBody>
      </p:sp>
      <p:pic>
        <p:nvPicPr>
          <p:cNvPr id="3" name="Graphic 2">
            <a:extLst>
              <a:ext uri="{FF2B5EF4-FFF2-40B4-BE49-F238E27FC236}">
                <a16:creationId xmlns:a16="http://schemas.microsoft.com/office/drawing/2014/main" id="{40F5525B-50F2-381C-C9BD-0E48FE30405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836278" y="134704"/>
            <a:ext cx="1867027" cy="388379"/>
          </a:xfrm>
          <a:prstGeom prst="rect">
            <a:avLst/>
          </a:prstGeom>
        </p:spPr>
      </p:pic>
      <p:sp>
        <p:nvSpPr>
          <p:cNvPr id="4" name="TextBox 3">
            <a:extLst>
              <a:ext uri="{FF2B5EF4-FFF2-40B4-BE49-F238E27FC236}">
                <a16:creationId xmlns:a16="http://schemas.microsoft.com/office/drawing/2014/main" id="{40086C5B-23DA-8472-04D4-E5E0E09002B9}"/>
              </a:ext>
            </a:extLst>
          </p:cNvPr>
          <p:cNvSpPr txBox="1"/>
          <p:nvPr/>
        </p:nvSpPr>
        <p:spPr>
          <a:xfrm>
            <a:off x="818392" y="3681863"/>
            <a:ext cx="3998187" cy="2653488"/>
          </a:xfrm>
          <a:prstGeom prst="rect">
            <a:avLst/>
          </a:prstGeom>
          <a:ln w="9525">
            <a:noFill/>
          </a:ln>
        </p:spPr>
        <p:txBody>
          <a:bodyPr vert="horz" wrap="square" lIns="45720" tIns="45720" rIns="45720" bIns="45720" rtlCol="0">
            <a:noAutofit/>
          </a:bodyPr>
          <a:lstStyle/>
          <a:p>
            <a:pPr algn="l">
              <a:lnSpc>
                <a:spcPct val="90000"/>
              </a:lnSpc>
              <a:spcBef>
                <a:spcPts val="800"/>
              </a:spcBef>
            </a:pPr>
            <a:r>
              <a:rPr lang="en-US" dirty="0"/>
              <a:t>Work Instruction </a:t>
            </a:r>
          </a:p>
          <a:p>
            <a:pPr algn="l">
              <a:lnSpc>
                <a:spcPct val="90000"/>
              </a:lnSpc>
              <a:spcBef>
                <a:spcPts val="800"/>
              </a:spcBef>
            </a:pPr>
            <a:r>
              <a:rPr lang="en-US" dirty="0" err="1">
                <a:highlight>
                  <a:srgbClr val="FFFF00"/>
                </a:highlight>
              </a:rPr>
              <a:t>AutoARWorkInstruction_DT</a:t>
            </a:r>
            <a:r>
              <a:rPr lang="en-US" dirty="0">
                <a:highlight>
                  <a:srgbClr val="FFFF00"/>
                </a:highlight>
              </a:rPr>
              <a:t> </a:t>
            </a:r>
          </a:p>
          <a:p>
            <a:pPr marL="886288" lvl="1" indent="-342900">
              <a:lnSpc>
                <a:spcPct val="90000"/>
              </a:lnSpc>
              <a:spcBef>
                <a:spcPts val="800"/>
              </a:spcBef>
              <a:buFont typeface="Arial" panose="020B0604020202020204" pitchFamily="34" charset="0"/>
              <a:buChar char="•"/>
            </a:pPr>
            <a:r>
              <a:rPr lang="en-US" sz="1600" dirty="0" err="1"/>
              <a:t>WorkID</a:t>
            </a:r>
            <a:r>
              <a:rPr lang="en-US" sz="1600" dirty="0"/>
              <a:t> (Key) Identifier </a:t>
            </a:r>
          </a:p>
          <a:p>
            <a:pPr marL="886288" lvl="1" indent="-342900">
              <a:buFont typeface="Arial" panose="020B0604020202020204" pitchFamily="34" charset="0"/>
              <a:buChar char="•"/>
            </a:pPr>
            <a:r>
              <a:rPr lang="en-US" sz="1600" dirty="0" err="1"/>
              <a:t>StepNumber</a:t>
            </a:r>
            <a:r>
              <a:rPr lang="en-US" sz="1600" dirty="0"/>
              <a:t> (Key)</a:t>
            </a:r>
          </a:p>
          <a:p>
            <a:pPr marL="886288" lvl="1" indent="-342900">
              <a:buFont typeface="Arial" panose="020B0604020202020204" pitchFamily="34" charset="0"/>
              <a:buChar char="•"/>
            </a:pPr>
            <a:r>
              <a:rPr lang="en-US" sz="1600" dirty="0"/>
              <a:t>Label1</a:t>
            </a:r>
          </a:p>
          <a:p>
            <a:pPr marL="886288" lvl="1" indent="-342900">
              <a:buFont typeface="Arial" panose="020B0604020202020204" pitchFamily="34" charset="0"/>
              <a:buChar char="•"/>
            </a:pPr>
            <a:r>
              <a:rPr lang="en-US" sz="1600" dirty="0"/>
              <a:t>Label2</a:t>
            </a:r>
          </a:p>
          <a:p>
            <a:pPr marL="886288" lvl="1" indent="-342900">
              <a:buFont typeface="Arial" panose="020B0604020202020204" pitchFamily="34" charset="0"/>
              <a:buChar char="•"/>
            </a:pPr>
            <a:r>
              <a:rPr lang="en-US" sz="1600" dirty="0"/>
              <a:t>Label3</a:t>
            </a:r>
          </a:p>
          <a:p>
            <a:pPr marL="886288" lvl="1" indent="-342900">
              <a:buFont typeface="Arial" panose="020B0604020202020204" pitchFamily="34" charset="0"/>
              <a:buChar char="•"/>
            </a:pPr>
            <a:r>
              <a:rPr lang="en-US" sz="1600" dirty="0" err="1"/>
              <a:t>StepDetail</a:t>
            </a:r>
            <a:endParaRPr lang="en-US" sz="1600" dirty="0"/>
          </a:p>
          <a:p>
            <a:pPr marL="886288" lvl="1" indent="-342900">
              <a:buFont typeface="Arial" panose="020B0604020202020204" pitchFamily="34" charset="0"/>
              <a:buChar char="•"/>
            </a:pPr>
            <a:r>
              <a:rPr lang="en-US" sz="1600" dirty="0" err="1"/>
              <a:t>AffectedPartsID</a:t>
            </a:r>
            <a:r>
              <a:rPr lang="en-US" sz="1600" dirty="0"/>
              <a:t> (reference ID)</a:t>
            </a:r>
          </a:p>
          <a:p>
            <a:pPr algn="l">
              <a:lnSpc>
                <a:spcPct val="90000"/>
              </a:lnSpc>
              <a:spcBef>
                <a:spcPts val="800"/>
              </a:spcBef>
            </a:pPr>
            <a:endParaRPr lang="en-US" dirty="0"/>
          </a:p>
          <a:p>
            <a:pPr algn="l">
              <a:lnSpc>
                <a:spcPct val="90000"/>
              </a:lnSpc>
              <a:spcBef>
                <a:spcPts val="800"/>
              </a:spcBef>
            </a:pPr>
            <a:endParaRPr lang="en-US" dirty="0"/>
          </a:p>
        </p:txBody>
      </p:sp>
      <p:pic>
        <p:nvPicPr>
          <p:cNvPr id="5" name="Graphic 4">
            <a:extLst>
              <a:ext uri="{FF2B5EF4-FFF2-40B4-BE49-F238E27FC236}">
                <a16:creationId xmlns:a16="http://schemas.microsoft.com/office/drawing/2014/main" id="{406D6F29-06AE-6179-DC5A-7518D1BDCF3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97655" y="1234285"/>
            <a:ext cx="336676" cy="419940"/>
          </a:xfrm>
          <a:prstGeom prst="rect">
            <a:avLst/>
          </a:prstGeom>
        </p:spPr>
      </p:pic>
      <p:sp>
        <p:nvSpPr>
          <p:cNvPr id="9" name="TextBox 8">
            <a:extLst>
              <a:ext uri="{FF2B5EF4-FFF2-40B4-BE49-F238E27FC236}">
                <a16:creationId xmlns:a16="http://schemas.microsoft.com/office/drawing/2014/main" id="{FA6C7EF7-D625-8A17-2BEB-37E4FE212890}"/>
              </a:ext>
            </a:extLst>
          </p:cNvPr>
          <p:cNvSpPr txBox="1"/>
          <p:nvPr/>
        </p:nvSpPr>
        <p:spPr>
          <a:xfrm>
            <a:off x="5755006" y="80863"/>
            <a:ext cx="2081272" cy="590931"/>
          </a:xfrm>
          <a:prstGeom prst="rect">
            <a:avLst/>
          </a:prstGeom>
          <a:noFill/>
          <a:ln w="9525">
            <a:noFill/>
          </a:ln>
        </p:spPr>
        <p:txBody>
          <a:bodyPr wrap="square">
            <a:spAutoFit/>
          </a:bodyPr>
          <a:lstStyle/>
          <a:p>
            <a:pPr algn="l">
              <a:lnSpc>
                <a:spcPct val="90000"/>
              </a:lnSpc>
              <a:spcBef>
                <a:spcPts val="800"/>
              </a:spcBef>
            </a:pPr>
            <a:r>
              <a:rPr lang="en-US" sz="3600" dirty="0"/>
              <a:t>schema</a:t>
            </a:r>
          </a:p>
        </p:txBody>
      </p:sp>
      <p:sp>
        <p:nvSpPr>
          <p:cNvPr id="11" name="TextBox 10">
            <a:extLst>
              <a:ext uri="{FF2B5EF4-FFF2-40B4-BE49-F238E27FC236}">
                <a16:creationId xmlns:a16="http://schemas.microsoft.com/office/drawing/2014/main" id="{CA3EC129-5001-B6D1-C9E9-0EFE3C626538}"/>
              </a:ext>
            </a:extLst>
          </p:cNvPr>
          <p:cNvSpPr txBox="1"/>
          <p:nvPr/>
        </p:nvSpPr>
        <p:spPr>
          <a:xfrm>
            <a:off x="7076469" y="996148"/>
            <a:ext cx="4677969" cy="2246769"/>
          </a:xfrm>
          <a:prstGeom prst="rect">
            <a:avLst/>
          </a:prstGeom>
          <a:noFill/>
          <a:ln w="9525">
            <a:noFill/>
          </a:ln>
        </p:spPr>
        <p:txBody>
          <a:bodyPr wrap="square">
            <a:spAutoFit/>
          </a:bodyPr>
          <a:lstStyle/>
          <a:p>
            <a:r>
              <a:rPr lang="en-US" dirty="0"/>
              <a:t>Hero Part Model Target Identifier</a:t>
            </a:r>
          </a:p>
          <a:p>
            <a:r>
              <a:rPr lang="en-US" dirty="0" err="1">
                <a:highlight>
                  <a:srgbClr val="FFFF00"/>
                </a:highlight>
              </a:rPr>
              <a:t>AutoARHeroPart_DT</a:t>
            </a:r>
            <a:endParaRPr lang="en-US" dirty="0">
              <a:highlight>
                <a:srgbClr val="FFFF00"/>
              </a:highlight>
            </a:endParaRPr>
          </a:p>
          <a:p>
            <a:pPr marL="829138" lvl="1" indent="-285750">
              <a:buFont typeface="Arial" panose="020B0604020202020204" pitchFamily="34" charset="0"/>
              <a:buChar char="•"/>
            </a:pPr>
            <a:r>
              <a:rPr lang="en-US" sz="1600" dirty="0"/>
              <a:t>VIN (key)</a:t>
            </a:r>
          </a:p>
          <a:p>
            <a:pPr marL="829138" lvl="1" indent="-285750">
              <a:buFont typeface="Arial" panose="020B0604020202020204" pitchFamily="34" charset="0"/>
              <a:buChar char="•"/>
            </a:pPr>
            <a:r>
              <a:rPr lang="en-US" sz="1600" dirty="0"/>
              <a:t>Folder </a:t>
            </a:r>
          </a:p>
          <a:p>
            <a:pPr marL="829138" lvl="1" indent="-285750">
              <a:buFont typeface="Arial" panose="020B0604020202020204" pitchFamily="34" charset="0"/>
              <a:buChar char="•"/>
            </a:pPr>
            <a:r>
              <a:rPr lang="en-US" sz="1600" dirty="0"/>
              <a:t>MTID</a:t>
            </a:r>
          </a:p>
          <a:p>
            <a:pPr marL="829138" lvl="1" indent="-285750">
              <a:buFont typeface="Arial" panose="020B0604020202020204" pitchFamily="34" charset="0"/>
              <a:buChar char="•"/>
            </a:pPr>
            <a:r>
              <a:rPr lang="en-US" sz="1600" dirty="0" err="1"/>
              <a:t>MTDataset</a:t>
            </a:r>
            <a:r>
              <a:rPr lang="en-US" sz="1600" dirty="0"/>
              <a:t> </a:t>
            </a:r>
          </a:p>
          <a:p>
            <a:pPr marL="829138" lvl="1" indent="-285750">
              <a:buFont typeface="Arial" panose="020B0604020202020204" pitchFamily="34" charset="0"/>
              <a:buChar char="•"/>
            </a:pPr>
            <a:r>
              <a:rPr lang="en-US" sz="1600" dirty="0" err="1"/>
              <a:t>MTGuideView</a:t>
            </a:r>
            <a:endParaRPr lang="en-US" sz="1600" dirty="0"/>
          </a:p>
          <a:p>
            <a:pPr marL="829138" lvl="1" indent="-285750">
              <a:buFont typeface="Arial" panose="020B0604020202020204" pitchFamily="34" charset="0"/>
              <a:buChar char="•"/>
            </a:pPr>
            <a:r>
              <a:rPr lang="en-US" sz="1600" dirty="0"/>
              <a:t>Model</a:t>
            </a:r>
            <a:endParaRPr lang="en-US" sz="1400" dirty="0"/>
          </a:p>
        </p:txBody>
      </p:sp>
      <p:pic>
        <p:nvPicPr>
          <p:cNvPr id="12" name="Graphic 11">
            <a:extLst>
              <a:ext uri="{FF2B5EF4-FFF2-40B4-BE49-F238E27FC236}">
                <a16:creationId xmlns:a16="http://schemas.microsoft.com/office/drawing/2014/main" id="{C298A79C-4ADB-ED21-305E-A6B307E2925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627304" y="1341072"/>
            <a:ext cx="336676" cy="419940"/>
          </a:xfrm>
          <a:prstGeom prst="rect">
            <a:avLst/>
          </a:prstGeom>
        </p:spPr>
      </p:pic>
      <p:sp>
        <p:nvSpPr>
          <p:cNvPr id="17" name="TextBox 16">
            <a:extLst>
              <a:ext uri="{FF2B5EF4-FFF2-40B4-BE49-F238E27FC236}">
                <a16:creationId xmlns:a16="http://schemas.microsoft.com/office/drawing/2014/main" id="{0F9528BD-0600-F5D9-CA27-350A9A4038E1}"/>
              </a:ext>
            </a:extLst>
          </p:cNvPr>
          <p:cNvSpPr txBox="1"/>
          <p:nvPr/>
        </p:nvSpPr>
        <p:spPr>
          <a:xfrm>
            <a:off x="6248550" y="3615084"/>
            <a:ext cx="5811370" cy="2677656"/>
          </a:xfrm>
          <a:prstGeom prst="rect">
            <a:avLst/>
          </a:prstGeom>
          <a:noFill/>
          <a:ln w="9525">
            <a:noFill/>
          </a:ln>
        </p:spPr>
        <p:txBody>
          <a:bodyPr wrap="square">
            <a:spAutoFit/>
          </a:bodyPr>
          <a:lstStyle/>
          <a:p>
            <a:r>
              <a:rPr lang="en-US" dirty="0"/>
              <a:t>Related Models in Step</a:t>
            </a:r>
          </a:p>
          <a:p>
            <a:r>
              <a:rPr lang="en-US" dirty="0" err="1">
                <a:highlight>
                  <a:srgbClr val="FFFF00"/>
                </a:highlight>
              </a:rPr>
              <a:t>AutoARAffectedParts_DT</a:t>
            </a:r>
            <a:endParaRPr lang="en-US" dirty="0">
              <a:highlight>
                <a:srgbClr val="FFFF00"/>
              </a:highlight>
            </a:endParaRPr>
          </a:p>
          <a:p>
            <a:pPr marL="829138" lvl="1" indent="-285750">
              <a:buFont typeface="Arial" panose="020B0604020202020204" pitchFamily="34" charset="0"/>
              <a:buChar char="•"/>
            </a:pPr>
            <a:r>
              <a:rPr lang="en-US" sz="1600" dirty="0" err="1"/>
              <a:t>AffectedPartID</a:t>
            </a:r>
            <a:r>
              <a:rPr lang="en-US" sz="1600" dirty="0"/>
              <a:t> (Key)</a:t>
            </a:r>
          </a:p>
          <a:p>
            <a:pPr marL="829138" lvl="1" indent="-285750">
              <a:buFont typeface="Arial" panose="020B0604020202020204" pitchFamily="34" charset="0"/>
              <a:buChar char="•"/>
            </a:pPr>
            <a:r>
              <a:rPr lang="en-US" sz="1600" dirty="0" err="1"/>
              <a:t>MetadataID</a:t>
            </a:r>
            <a:endParaRPr lang="en-US" sz="1600" dirty="0"/>
          </a:p>
          <a:p>
            <a:pPr marL="829138" lvl="1" indent="-285750">
              <a:buFont typeface="Arial" panose="020B0604020202020204" pitchFamily="34" charset="0"/>
              <a:buChar char="•"/>
            </a:pPr>
            <a:r>
              <a:rPr lang="en-US" sz="1600" dirty="0" err="1"/>
              <a:t>MetadataPropertyName</a:t>
            </a:r>
            <a:r>
              <a:rPr lang="en-US" sz="1600" dirty="0"/>
              <a:t> </a:t>
            </a:r>
          </a:p>
          <a:p>
            <a:pPr marL="829138" lvl="1" indent="-285750">
              <a:buFont typeface="Arial" panose="020B0604020202020204" pitchFamily="34" charset="0"/>
              <a:buChar char="•"/>
            </a:pPr>
            <a:r>
              <a:rPr lang="en-US" sz="1600" dirty="0" err="1"/>
              <a:t>ModelName</a:t>
            </a:r>
            <a:endParaRPr lang="en-US" sz="1600" dirty="0"/>
          </a:p>
          <a:p>
            <a:pPr marL="829138" lvl="1" indent="-285750">
              <a:buFont typeface="Arial" panose="020B0604020202020204" pitchFamily="34" charset="0"/>
              <a:buChar char="•"/>
            </a:pPr>
            <a:r>
              <a:rPr lang="en-US" sz="1600" dirty="0"/>
              <a:t>DisplayName // </a:t>
            </a:r>
            <a:r>
              <a:rPr lang="en-US" sz="1200" dirty="0"/>
              <a:t>redundant maybe this can from the metadata </a:t>
            </a:r>
            <a:endParaRPr lang="en-US" sz="1600" dirty="0"/>
          </a:p>
          <a:p>
            <a:pPr marL="829138" lvl="1" indent="-285750">
              <a:buFont typeface="Arial" panose="020B0604020202020204" pitchFamily="34" charset="0"/>
              <a:buChar char="•"/>
            </a:pPr>
            <a:r>
              <a:rPr lang="en-US" sz="1600" dirty="0" err="1"/>
              <a:t>PartName</a:t>
            </a:r>
            <a:r>
              <a:rPr lang="en-US" sz="1600" dirty="0"/>
              <a:t>  // </a:t>
            </a:r>
            <a:r>
              <a:rPr lang="en-US" sz="1200" dirty="0"/>
              <a:t>redundant maybe this can from the metadata </a:t>
            </a:r>
            <a:endParaRPr lang="en-US" sz="1600" dirty="0"/>
          </a:p>
          <a:p>
            <a:pPr marL="829138" lvl="1" indent="-285750">
              <a:buFont typeface="Arial" panose="020B0604020202020204" pitchFamily="34" charset="0"/>
              <a:buChar char="•"/>
            </a:pPr>
            <a:r>
              <a:rPr lang="en-US" sz="1600" dirty="0" err="1"/>
              <a:t>FileName</a:t>
            </a:r>
            <a:endParaRPr lang="en-US" sz="1600" dirty="0"/>
          </a:p>
        </p:txBody>
      </p:sp>
      <p:pic>
        <p:nvPicPr>
          <p:cNvPr id="18" name="Graphic 17">
            <a:extLst>
              <a:ext uri="{FF2B5EF4-FFF2-40B4-BE49-F238E27FC236}">
                <a16:creationId xmlns:a16="http://schemas.microsoft.com/office/drawing/2014/main" id="{CE06C299-038F-DFC4-7BC0-8CA2B6F758C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791228" y="4003603"/>
            <a:ext cx="336676" cy="419940"/>
          </a:xfrm>
          <a:prstGeom prst="rect">
            <a:avLst/>
          </a:prstGeom>
        </p:spPr>
      </p:pic>
      <p:sp>
        <p:nvSpPr>
          <p:cNvPr id="20" name="TextBox 19">
            <a:extLst>
              <a:ext uri="{FF2B5EF4-FFF2-40B4-BE49-F238E27FC236}">
                <a16:creationId xmlns:a16="http://schemas.microsoft.com/office/drawing/2014/main" id="{AAF51E00-75BA-7DAC-BE9D-DE868C447D45}"/>
              </a:ext>
            </a:extLst>
          </p:cNvPr>
          <p:cNvSpPr txBox="1"/>
          <p:nvPr/>
        </p:nvSpPr>
        <p:spPr>
          <a:xfrm>
            <a:off x="746820" y="920810"/>
            <a:ext cx="6442138" cy="2246769"/>
          </a:xfrm>
          <a:prstGeom prst="rect">
            <a:avLst/>
          </a:prstGeom>
          <a:noFill/>
          <a:ln w="9525">
            <a:noFill/>
          </a:ln>
        </p:spPr>
        <p:txBody>
          <a:bodyPr wrap="square">
            <a:spAutoFit/>
          </a:bodyPr>
          <a:lstStyle/>
          <a:p>
            <a:r>
              <a:rPr lang="en-US" dirty="0"/>
              <a:t>Work Order that binds the VIN and Instructions</a:t>
            </a:r>
          </a:p>
          <a:p>
            <a:r>
              <a:rPr lang="en-US" dirty="0" err="1">
                <a:highlight>
                  <a:srgbClr val="FFFF00"/>
                </a:highlight>
              </a:rPr>
              <a:t>AutoARWorkOrder_DT</a:t>
            </a:r>
            <a:endParaRPr lang="en-US" dirty="0">
              <a:highlight>
                <a:srgbClr val="FFFF00"/>
              </a:highlight>
            </a:endParaRPr>
          </a:p>
          <a:p>
            <a:pPr marL="829138" lvl="1" indent="-285750">
              <a:buFont typeface="Arial" panose="020B0604020202020204" pitchFamily="34" charset="0"/>
              <a:buChar char="•"/>
            </a:pPr>
            <a:r>
              <a:rPr lang="en-US" sz="1600" dirty="0" err="1"/>
              <a:t>WorkID</a:t>
            </a:r>
            <a:r>
              <a:rPr lang="en-US" sz="1600" dirty="0"/>
              <a:t> (Key)</a:t>
            </a:r>
          </a:p>
          <a:p>
            <a:pPr marL="829138" lvl="1" indent="-285750">
              <a:buFont typeface="Arial" panose="020B0604020202020204" pitchFamily="34" charset="0"/>
              <a:buChar char="•"/>
            </a:pPr>
            <a:r>
              <a:rPr lang="en-US" sz="1600" dirty="0"/>
              <a:t>Title</a:t>
            </a:r>
          </a:p>
          <a:p>
            <a:pPr marL="829138" lvl="1" indent="-285750">
              <a:buFont typeface="Arial" panose="020B0604020202020204" pitchFamily="34" charset="0"/>
              <a:buChar char="•"/>
            </a:pPr>
            <a:r>
              <a:rPr lang="en-US" sz="1600" dirty="0"/>
              <a:t>Overview</a:t>
            </a:r>
          </a:p>
          <a:p>
            <a:pPr marL="829138" lvl="1" indent="-285750">
              <a:buFont typeface="Arial" panose="020B0604020202020204" pitchFamily="34" charset="0"/>
              <a:buChar char="•"/>
            </a:pPr>
            <a:r>
              <a:rPr lang="en-US" sz="1600" dirty="0"/>
              <a:t>Difficulty</a:t>
            </a:r>
          </a:p>
          <a:p>
            <a:pPr marL="829138" lvl="1" indent="-285750">
              <a:buFont typeface="Arial" panose="020B0604020202020204" pitchFamily="34" charset="0"/>
              <a:buChar char="•"/>
            </a:pPr>
            <a:r>
              <a:rPr lang="en-US" sz="1600" dirty="0"/>
              <a:t>Time</a:t>
            </a:r>
          </a:p>
          <a:p>
            <a:pPr marL="829138" lvl="1" indent="-285750">
              <a:buFont typeface="Arial" panose="020B0604020202020204" pitchFamily="34" charset="0"/>
              <a:buChar char="•"/>
            </a:pPr>
            <a:r>
              <a:rPr lang="en-US" sz="1600" dirty="0"/>
              <a:t>VIN</a:t>
            </a:r>
          </a:p>
        </p:txBody>
      </p:sp>
      <p:pic>
        <p:nvPicPr>
          <p:cNvPr id="21" name="Graphic 20">
            <a:extLst>
              <a:ext uri="{FF2B5EF4-FFF2-40B4-BE49-F238E27FC236}">
                <a16:creationId xmlns:a16="http://schemas.microsoft.com/office/drawing/2014/main" id="{145E42E0-D3EF-5A26-47B1-923D1F6CFF9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97655" y="4100223"/>
            <a:ext cx="336676" cy="419940"/>
          </a:xfrm>
          <a:prstGeom prst="rect">
            <a:avLst/>
          </a:prstGeom>
        </p:spPr>
      </p:pic>
    </p:spTree>
    <p:extLst>
      <p:ext uri="{BB962C8B-B14F-4D97-AF65-F5344CB8AC3E}">
        <p14:creationId xmlns:p14="http://schemas.microsoft.com/office/powerpoint/2010/main" val="4005650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7DDACF-B382-F61E-5D49-543936299D93}"/>
              </a:ext>
            </a:extLst>
          </p:cNvPr>
          <p:cNvSpPr>
            <a:spLocks noGrp="1"/>
          </p:cNvSpPr>
          <p:nvPr>
            <p:ph type="title"/>
          </p:nvPr>
        </p:nvSpPr>
        <p:spPr>
          <a:xfrm>
            <a:off x="1659160" y="235564"/>
            <a:ext cx="4102986" cy="369332"/>
          </a:xfrm>
        </p:spPr>
        <p:txBody>
          <a:bodyPr/>
          <a:lstStyle/>
          <a:p>
            <a:r>
              <a:rPr lang="en-US" dirty="0"/>
              <a:t>IMPLEMENT DETAILS</a:t>
            </a:r>
          </a:p>
        </p:txBody>
      </p:sp>
      <p:pic>
        <p:nvPicPr>
          <p:cNvPr id="3" name="Graphic 2">
            <a:extLst>
              <a:ext uri="{FF2B5EF4-FFF2-40B4-BE49-F238E27FC236}">
                <a16:creationId xmlns:a16="http://schemas.microsoft.com/office/drawing/2014/main" id="{40F5525B-50F2-381C-C9BD-0E48FE30405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599326" y="216517"/>
            <a:ext cx="1867027" cy="388379"/>
          </a:xfrm>
          <a:prstGeom prst="rect">
            <a:avLst/>
          </a:prstGeom>
        </p:spPr>
      </p:pic>
      <p:sp>
        <p:nvSpPr>
          <p:cNvPr id="9" name="TextBox 8">
            <a:extLst>
              <a:ext uri="{FF2B5EF4-FFF2-40B4-BE49-F238E27FC236}">
                <a16:creationId xmlns:a16="http://schemas.microsoft.com/office/drawing/2014/main" id="{FA6C7EF7-D625-8A17-2BEB-37E4FE212890}"/>
              </a:ext>
            </a:extLst>
          </p:cNvPr>
          <p:cNvSpPr txBox="1"/>
          <p:nvPr/>
        </p:nvSpPr>
        <p:spPr>
          <a:xfrm>
            <a:off x="4199337" y="908108"/>
            <a:ext cx="3248951" cy="590931"/>
          </a:xfrm>
          <a:prstGeom prst="rect">
            <a:avLst/>
          </a:prstGeom>
          <a:noFill/>
          <a:ln w="9525">
            <a:noFill/>
          </a:ln>
        </p:spPr>
        <p:txBody>
          <a:bodyPr wrap="square">
            <a:spAutoFit/>
          </a:bodyPr>
          <a:lstStyle/>
          <a:p>
            <a:pPr algn="l">
              <a:lnSpc>
                <a:spcPct val="90000"/>
              </a:lnSpc>
              <a:spcBef>
                <a:spcPts val="800"/>
              </a:spcBef>
            </a:pPr>
            <a:r>
              <a:rPr lang="en-US" sz="3600" dirty="0"/>
              <a:t>Create Data</a:t>
            </a:r>
          </a:p>
        </p:txBody>
      </p:sp>
      <p:pic>
        <p:nvPicPr>
          <p:cNvPr id="12" name="Graphic 11">
            <a:extLst>
              <a:ext uri="{FF2B5EF4-FFF2-40B4-BE49-F238E27FC236}">
                <a16:creationId xmlns:a16="http://schemas.microsoft.com/office/drawing/2014/main" id="{C298A79C-4ADB-ED21-305E-A6B307E2925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70500" y="2389177"/>
            <a:ext cx="336676" cy="419940"/>
          </a:xfrm>
          <a:prstGeom prst="rect">
            <a:avLst/>
          </a:prstGeom>
        </p:spPr>
      </p:pic>
      <p:sp>
        <p:nvSpPr>
          <p:cNvPr id="16" name="TextBox 15">
            <a:extLst>
              <a:ext uri="{FF2B5EF4-FFF2-40B4-BE49-F238E27FC236}">
                <a16:creationId xmlns:a16="http://schemas.microsoft.com/office/drawing/2014/main" id="{0C081B0E-8D32-7E26-C564-448360D8B537}"/>
              </a:ext>
            </a:extLst>
          </p:cNvPr>
          <p:cNvSpPr txBox="1"/>
          <p:nvPr/>
        </p:nvSpPr>
        <p:spPr>
          <a:xfrm>
            <a:off x="370500" y="4513598"/>
            <a:ext cx="11654189" cy="1569660"/>
          </a:xfrm>
          <a:prstGeom prst="rect">
            <a:avLst/>
          </a:prstGeom>
          <a:noFill/>
          <a:ln w="9525">
            <a:noFill/>
          </a:ln>
        </p:spPr>
        <p:txBody>
          <a:bodyPr wrap="square">
            <a:spAutoFit/>
          </a:bodyPr>
          <a:lstStyle/>
          <a:p>
            <a:endParaRPr lang="en-US" sz="1600" dirty="0"/>
          </a:p>
          <a:p>
            <a:endParaRPr lang="en-US" sz="1600" dirty="0"/>
          </a:p>
          <a:p>
            <a:r>
              <a:rPr lang="en-US" sz="1600" dirty="0"/>
              <a:t>let </a:t>
            </a:r>
            <a:r>
              <a:rPr lang="en-US" sz="1600" dirty="0" err="1"/>
              <a:t>crvVin</a:t>
            </a:r>
            <a:r>
              <a:rPr lang="en-US" sz="1600" dirty="0"/>
              <a:t> = "123456789";</a:t>
            </a:r>
          </a:p>
          <a:p>
            <a:r>
              <a:rPr lang="en-US" sz="1600" dirty="0" err="1"/>
              <a:t>CreateHeroPart</a:t>
            </a:r>
            <a:r>
              <a:rPr lang="en-US" sz="1600" dirty="0"/>
              <a:t>('</a:t>
            </a:r>
            <a:r>
              <a:rPr lang="en-US" sz="1600" dirty="0" err="1"/>
              <a:t>Crv</a:t>
            </a:r>
            <a:r>
              <a:rPr lang="en-US" sz="1600" dirty="0"/>
              <a:t>'  , 'crv_outer360', 'crv_outer360',  'crv_outer_GuideView_0000_2.png', '</a:t>
            </a:r>
            <a:r>
              <a:rPr lang="en-US" sz="1600" dirty="0" err="1"/>
              <a:t>crv_outer.pvz</a:t>
            </a:r>
            <a:r>
              <a:rPr lang="en-US" sz="1600" dirty="0"/>
              <a:t>' , </a:t>
            </a:r>
            <a:r>
              <a:rPr lang="en-US" sz="1600" dirty="0" err="1"/>
              <a:t>crvVin</a:t>
            </a:r>
            <a:r>
              <a:rPr lang="en-US" sz="1600" dirty="0"/>
              <a:t>);</a:t>
            </a:r>
          </a:p>
          <a:p>
            <a:endParaRPr lang="en-US" sz="1600" dirty="0"/>
          </a:p>
          <a:p>
            <a:r>
              <a:rPr lang="en-US" sz="1600" dirty="0"/>
              <a:t>//</a:t>
            </a:r>
          </a:p>
        </p:txBody>
      </p:sp>
      <p:sp>
        <p:nvSpPr>
          <p:cNvPr id="19" name="TextBox 18">
            <a:extLst>
              <a:ext uri="{FF2B5EF4-FFF2-40B4-BE49-F238E27FC236}">
                <a16:creationId xmlns:a16="http://schemas.microsoft.com/office/drawing/2014/main" id="{0AB4F241-1B4F-2BEF-606F-FF2D64D70E2C}"/>
              </a:ext>
            </a:extLst>
          </p:cNvPr>
          <p:cNvSpPr txBox="1"/>
          <p:nvPr/>
        </p:nvSpPr>
        <p:spPr>
          <a:xfrm>
            <a:off x="929669" y="2055814"/>
            <a:ext cx="4677969" cy="2246769"/>
          </a:xfrm>
          <a:prstGeom prst="rect">
            <a:avLst/>
          </a:prstGeom>
          <a:noFill/>
          <a:ln w="9525">
            <a:noFill/>
          </a:ln>
        </p:spPr>
        <p:txBody>
          <a:bodyPr wrap="square">
            <a:spAutoFit/>
          </a:bodyPr>
          <a:lstStyle/>
          <a:p>
            <a:r>
              <a:rPr lang="en-US" dirty="0"/>
              <a:t>Hero Part Model Target Identifier</a:t>
            </a:r>
          </a:p>
          <a:p>
            <a:r>
              <a:rPr lang="en-US" dirty="0" err="1">
                <a:highlight>
                  <a:srgbClr val="FFFF00"/>
                </a:highlight>
              </a:rPr>
              <a:t>AutoARHeroPart_DT</a:t>
            </a:r>
            <a:endParaRPr lang="en-US" dirty="0">
              <a:highlight>
                <a:srgbClr val="FFFF00"/>
              </a:highlight>
            </a:endParaRPr>
          </a:p>
          <a:p>
            <a:pPr marL="829138" lvl="1" indent="-285750">
              <a:buFont typeface="Arial" panose="020B0604020202020204" pitchFamily="34" charset="0"/>
              <a:buChar char="•"/>
            </a:pPr>
            <a:r>
              <a:rPr lang="en-US" sz="1600" dirty="0"/>
              <a:t>VIN (key)</a:t>
            </a:r>
          </a:p>
          <a:p>
            <a:pPr marL="829138" lvl="1" indent="-285750">
              <a:buFont typeface="Arial" panose="020B0604020202020204" pitchFamily="34" charset="0"/>
              <a:buChar char="•"/>
            </a:pPr>
            <a:r>
              <a:rPr lang="en-US" sz="1600" dirty="0"/>
              <a:t>Folder </a:t>
            </a:r>
          </a:p>
          <a:p>
            <a:pPr marL="829138" lvl="1" indent="-285750">
              <a:buFont typeface="Arial" panose="020B0604020202020204" pitchFamily="34" charset="0"/>
              <a:buChar char="•"/>
            </a:pPr>
            <a:r>
              <a:rPr lang="en-US" sz="1600" dirty="0"/>
              <a:t>MTID</a:t>
            </a:r>
          </a:p>
          <a:p>
            <a:pPr marL="829138" lvl="1" indent="-285750">
              <a:buFont typeface="Arial" panose="020B0604020202020204" pitchFamily="34" charset="0"/>
              <a:buChar char="•"/>
            </a:pPr>
            <a:r>
              <a:rPr lang="en-US" sz="1600" dirty="0" err="1"/>
              <a:t>MTDataset</a:t>
            </a:r>
            <a:r>
              <a:rPr lang="en-US" sz="1600" dirty="0"/>
              <a:t> </a:t>
            </a:r>
          </a:p>
          <a:p>
            <a:pPr marL="829138" lvl="1" indent="-285750">
              <a:buFont typeface="Arial" panose="020B0604020202020204" pitchFamily="34" charset="0"/>
              <a:buChar char="•"/>
            </a:pPr>
            <a:r>
              <a:rPr lang="en-US" sz="1600" dirty="0" err="1"/>
              <a:t>MTGuideView</a:t>
            </a:r>
            <a:endParaRPr lang="en-US" sz="1600" dirty="0"/>
          </a:p>
          <a:p>
            <a:pPr marL="829138" lvl="1" indent="-285750">
              <a:buFont typeface="Arial" panose="020B0604020202020204" pitchFamily="34" charset="0"/>
              <a:buChar char="•"/>
            </a:pPr>
            <a:r>
              <a:rPr lang="en-US" sz="1600" dirty="0"/>
              <a:t>Model</a:t>
            </a:r>
            <a:endParaRPr lang="en-US" sz="1400" dirty="0"/>
          </a:p>
        </p:txBody>
      </p:sp>
      <p:sp>
        <p:nvSpPr>
          <p:cNvPr id="5" name="TextBox 4">
            <a:extLst>
              <a:ext uri="{FF2B5EF4-FFF2-40B4-BE49-F238E27FC236}">
                <a16:creationId xmlns:a16="http://schemas.microsoft.com/office/drawing/2014/main" id="{A1D33609-25F0-11A8-1D63-20AB916E36E4}"/>
              </a:ext>
            </a:extLst>
          </p:cNvPr>
          <p:cNvSpPr txBox="1"/>
          <p:nvPr/>
        </p:nvSpPr>
        <p:spPr>
          <a:xfrm>
            <a:off x="370500" y="4513598"/>
            <a:ext cx="6095010" cy="461665"/>
          </a:xfrm>
          <a:prstGeom prst="rect">
            <a:avLst/>
          </a:prstGeom>
          <a:noFill/>
          <a:ln w="9525">
            <a:noFill/>
          </a:ln>
        </p:spPr>
        <p:txBody>
          <a:bodyPr wrap="square">
            <a:spAutoFit/>
          </a:bodyPr>
          <a:lstStyle/>
          <a:p>
            <a:r>
              <a:rPr lang="en-US" sz="2400" dirty="0"/>
              <a:t>Pseudo function</a:t>
            </a:r>
          </a:p>
        </p:txBody>
      </p:sp>
      <p:sp>
        <p:nvSpPr>
          <p:cNvPr id="4" name="TextBox 3">
            <a:extLst>
              <a:ext uri="{FF2B5EF4-FFF2-40B4-BE49-F238E27FC236}">
                <a16:creationId xmlns:a16="http://schemas.microsoft.com/office/drawing/2014/main" id="{BEDF067A-A6BE-8B6C-F42B-11685C0ACC00}"/>
              </a:ext>
            </a:extLst>
          </p:cNvPr>
          <p:cNvSpPr txBox="1"/>
          <p:nvPr/>
        </p:nvSpPr>
        <p:spPr>
          <a:xfrm>
            <a:off x="5141896" y="2644170"/>
            <a:ext cx="6555834" cy="1815882"/>
          </a:xfrm>
          <a:prstGeom prst="rect">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0" scaled="1"/>
            <a:tileRect/>
          </a:gradFill>
          <a:ln w="9525">
            <a:noFill/>
          </a:ln>
        </p:spPr>
        <p:txBody>
          <a:bodyPr wrap="square">
            <a:spAutoFit/>
          </a:bodyPr>
          <a:lstStyle/>
          <a:p>
            <a:r>
              <a:rPr lang="en-US" sz="1600" dirty="0"/>
              <a:t>The VIN is the Vehicle  identifier</a:t>
            </a:r>
          </a:p>
          <a:p>
            <a:r>
              <a:rPr lang="en-US" sz="1600" dirty="0"/>
              <a:t>The Folder is the repo location for the Targets and Affected Items</a:t>
            </a:r>
          </a:p>
          <a:p>
            <a:r>
              <a:rPr lang="en-US" sz="1600" dirty="0"/>
              <a:t>The MTID is the identifier  used within the XML and the Dataset</a:t>
            </a:r>
          </a:p>
          <a:p>
            <a:r>
              <a:rPr lang="en-US" sz="1600" dirty="0"/>
              <a:t>The </a:t>
            </a:r>
            <a:r>
              <a:rPr lang="en-US" sz="1600" dirty="0" err="1"/>
              <a:t>MTDataset</a:t>
            </a:r>
            <a:r>
              <a:rPr lang="en-US" sz="1600" dirty="0"/>
              <a:t> is the model target data definition</a:t>
            </a:r>
          </a:p>
          <a:p>
            <a:r>
              <a:rPr lang="en-US" sz="1600" dirty="0"/>
              <a:t>The </a:t>
            </a:r>
            <a:r>
              <a:rPr lang="en-US" sz="1600" dirty="0" err="1"/>
              <a:t>MTGuideview</a:t>
            </a:r>
            <a:r>
              <a:rPr lang="en-US" sz="1600" dirty="0"/>
              <a:t> is the image silhouette presented to the user</a:t>
            </a:r>
          </a:p>
          <a:p>
            <a:r>
              <a:rPr lang="en-US" sz="1600" dirty="0"/>
              <a:t>The Model is the </a:t>
            </a:r>
            <a:r>
              <a:rPr lang="en-US" sz="1600" dirty="0" err="1"/>
              <a:t>pvz</a:t>
            </a:r>
            <a:r>
              <a:rPr lang="en-US" sz="1600" dirty="0"/>
              <a:t> model as the target model</a:t>
            </a:r>
          </a:p>
          <a:p>
            <a:endParaRPr lang="en-US" sz="1600" dirty="0"/>
          </a:p>
        </p:txBody>
      </p:sp>
    </p:spTree>
    <p:extLst>
      <p:ext uri="{BB962C8B-B14F-4D97-AF65-F5344CB8AC3E}">
        <p14:creationId xmlns:p14="http://schemas.microsoft.com/office/powerpoint/2010/main" val="13401104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7DDACF-B382-F61E-5D49-543936299D93}"/>
              </a:ext>
            </a:extLst>
          </p:cNvPr>
          <p:cNvSpPr>
            <a:spLocks noGrp="1"/>
          </p:cNvSpPr>
          <p:nvPr>
            <p:ph type="title"/>
          </p:nvPr>
        </p:nvSpPr>
        <p:spPr>
          <a:xfrm>
            <a:off x="1659160" y="235564"/>
            <a:ext cx="4102986" cy="369332"/>
          </a:xfrm>
        </p:spPr>
        <p:txBody>
          <a:bodyPr/>
          <a:lstStyle/>
          <a:p>
            <a:r>
              <a:rPr lang="en-US" dirty="0"/>
              <a:t>IMPLEMENT DETAILS</a:t>
            </a:r>
          </a:p>
        </p:txBody>
      </p:sp>
      <p:pic>
        <p:nvPicPr>
          <p:cNvPr id="3" name="Graphic 2">
            <a:extLst>
              <a:ext uri="{FF2B5EF4-FFF2-40B4-BE49-F238E27FC236}">
                <a16:creationId xmlns:a16="http://schemas.microsoft.com/office/drawing/2014/main" id="{40F5525B-50F2-381C-C9BD-0E48FE30405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836278" y="134704"/>
            <a:ext cx="1867027" cy="388379"/>
          </a:xfrm>
          <a:prstGeom prst="rect">
            <a:avLst/>
          </a:prstGeom>
        </p:spPr>
      </p:pic>
      <p:sp>
        <p:nvSpPr>
          <p:cNvPr id="9" name="TextBox 8">
            <a:extLst>
              <a:ext uri="{FF2B5EF4-FFF2-40B4-BE49-F238E27FC236}">
                <a16:creationId xmlns:a16="http://schemas.microsoft.com/office/drawing/2014/main" id="{FA6C7EF7-D625-8A17-2BEB-37E4FE212890}"/>
              </a:ext>
            </a:extLst>
          </p:cNvPr>
          <p:cNvSpPr txBox="1"/>
          <p:nvPr/>
        </p:nvSpPr>
        <p:spPr>
          <a:xfrm>
            <a:off x="5755006" y="80863"/>
            <a:ext cx="2081272" cy="590931"/>
          </a:xfrm>
          <a:prstGeom prst="rect">
            <a:avLst/>
          </a:prstGeom>
          <a:noFill/>
          <a:ln w="9525">
            <a:noFill/>
          </a:ln>
        </p:spPr>
        <p:txBody>
          <a:bodyPr wrap="square">
            <a:spAutoFit/>
          </a:bodyPr>
          <a:lstStyle/>
          <a:p>
            <a:pPr algn="l">
              <a:lnSpc>
                <a:spcPct val="90000"/>
              </a:lnSpc>
              <a:spcBef>
                <a:spcPts val="800"/>
              </a:spcBef>
            </a:pPr>
            <a:r>
              <a:rPr lang="en-US" sz="3600" dirty="0"/>
              <a:t>schema</a:t>
            </a:r>
          </a:p>
        </p:txBody>
      </p:sp>
      <p:pic>
        <p:nvPicPr>
          <p:cNvPr id="12" name="Graphic 11">
            <a:extLst>
              <a:ext uri="{FF2B5EF4-FFF2-40B4-BE49-F238E27FC236}">
                <a16:creationId xmlns:a16="http://schemas.microsoft.com/office/drawing/2014/main" id="{C298A79C-4ADB-ED21-305E-A6B307E2925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63491" y="1286834"/>
            <a:ext cx="336676" cy="419940"/>
          </a:xfrm>
          <a:prstGeom prst="rect">
            <a:avLst/>
          </a:prstGeom>
        </p:spPr>
      </p:pic>
      <p:sp>
        <p:nvSpPr>
          <p:cNvPr id="7" name="TextBox 6">
            <a:extLst>
              <a:ext uri="{FF2B5EF4-FFF2-40B4-BE49-F238E27FC236}">
                <a16:creationId xmlns:a16="http://schemas.microsoft.com/office/drawing/2014/main" id="{1200F535-7B02-A923-3710-471C57B4176B}"/>
              </a:ext>
            </a:extLst>
          </p:cNvPr>
          <p:cNvSpPr txBox="1"/>
          <p:nvPr/>
        </p:nvSpPr>
        <p:spPr>
          <a:xfrm>
            <a:off x="263491" y="4820920"/>
            <a:ext cx="11816749" cy="1138773"/>
          </a:xfrm>
          <a:prstGeom prst="rect">
            <a:avLst/>
          </a:prstGeom>
          <a:noFill/>
          <a:ln w="9525">
            <a:noFill/>
          </a:ln>
        </p:spPr>
        <p:txBody>
          <a:bodyPr wrap="square">
            <a:spAutoFit/>
          </a:bodyPr>
          <a:lstStyle/>
          <a:p>
            <a:r>
              <a:rPr lang="en-US" sz="2400" dirty="0"/>
              <a:t>Pseudo function</a:t>
            </a:r>
          </a:p>
          <a:p>
            <a:r>
              <a:rPr lang="en-US" dirty="0"/>
              <a:t>let apDTC_B1028_1 = </a:t>
            </a:r>
            <a:r>
              <a:rPr lang="en-US" dirty="0" err="1"/>
              <a:t>CreateWi</a:t>
            </a:r>
            <a:r>
              <a:rPr lang="en-US" dirty="0"/>
              <a:t>(</a:t>
            </a:r>
            <a:r>
              <a:rPr lang="en-US" dirty="0" err="1"/>
              <a:t>id,'Please</a:t>
            </a:r>
            <a:r>
              <a:rPr lang="en-US" dirty="0"/>
              <a:t> make sure all safety options have been worked through.',1,'Safety');</a:t>
            </a:r>
          </a:p>
        </p:txBody>
      </p:sp>
      <p:sp>
        <p:nvSpPr>
          <p:cNvPr id="8" name="TextBox 7">
            <a:extLst>
              <a:ext uri="{FF2B5EF4-FFF2-40B4-BE49-F238E27FC236}">
                <a16:creationId xmlns:a16="http://schemas.microsoft.com/office/drawing/2014/main" id="{E7E2C8EC-008C-AA7D-F5D3-90245FA9F715}"/>
              </a:ext>
            </a:extLst>
          </p:cNvPr>
          <p:cNvSpPr txBox="1"/>
          <p:nvPr/>
        </p:nvSpPr>
        <p:spPr>
          <a:xfrm>
            <a:off x="818392" y="1345258"/>
            <a:ext cx="3998187" cy="2653488"/>
          </a:xfrm>
          <a:prstGeom prst="rect">
            <a:avLst/>
          </a:prstGeom>
          <a:ln w="9525">
            <a:noFill/>
          </a:ln>
        </p:spPr>
        <p:txBody>
          <a:bodyPr vert="horz" wrap="square" lIns="45720" tIns="45720" rIns="45720" bIns="45720" rtlCol="0">
            <a:noAutofit/>
          </a:bodyPr>
          <a:lstStyle/>
          <a:p>
            <a:pPr algn="l">
              <a:lnSpc>
                <a:spcPct val="90000"/>
              </a:lnSpc>
              <a:spcBef>
                <a:spcPts val="800"/>
              </a:spcBef>
            </a:pPr>
            <a:r>
              <a:rPr lang="en-US" dirty="0"/>
              <a:t>Work Instruction </a:t>
            </a:r>
          </a:p>
          <a:p>
            <a:pPr algn="l">
              <a:lnSpc>
                <a:spcPct val="90000"/>
              </a:lnSpc>
              <a:spcBef>
                <a:spcPts val="800"/>
              </a:spcBef>
            </a:pPr>
            <a:r>
              <a:rPr lang="en-US" dirty="0" err="1">
                <a:highlight>
                  <a:srgbClr val="FFFF00"/>
                </a:highlight>
              </a:rPr>
              <a:t>AutoARWorkInstruction_DT</a:t>
            </a:r>
            <a:r>
              <a:rPr lang="en-US" dirty="0">
                <a:highlight>
                  <a:srgbClr val="FFFF00"/>
                </a:highlight>
              </a:rPr>
              <a:t> </a:t>
            </a:r>
          </a:p>
          <a:p>
            <a:pPr marL="886288" lvl="1" indent="-342900">
              <a:lnSpc>
                <a:spcPct val="90000"/>
              </a:lnSpc>
              <a:spcBef>
                <a:spcPts val="800"/>
              </a:spcBef>
              <a:buFont typeface="Arial" panose="020B0604020202020204" pitchFamily="34" charset="0"/>
              <a:buChar char="•"/>
            </a:pPr>
            <a:r>
              <a:rPr lang="en-US" sz="1600" dirty="0" err="1"/>
              <a:t>WorkID</a:t>
            </a:r>
            <a:r>
              <a:rPr lang="en-US" sz="1600" dirty="0"/>
              <a:t> (key)</a:t>
            </a:r>
          </a:p>
          <a:p>
            <a:pPr marL="886288" lvl="1" indent="-342900">
              <a:buFont typeface="Arial" panose="020B0604020202020204" pitchFamily="34" charset="0"/>
              <a:buChar char="•"/>
            </a:pPr>
            <a:r>
              <a:rPr lang="en-US" sz="1600" dirty="0" err="1"/>
              <a:t>StepNumber</a:t>
            </a:r>
            <a:r>
              <a:rPr lang="en-US" sz="1600" dirty="0"/>
              <a:t> (key)</a:t>
            </a:r>
          </a:p>
          <a:p>
            <a:pPr marL="886288" lvl="1" indent="-342900">
              <a:buFont typeface="Arial" panose="020B0604020202020204" pitchFamily="34" charset="0"/>
              <a:buChar char="•"/>
            </a:pPr>
            <a:r>
              <a:rPr lang="en-US" sz="1600" dirty="0"/>
              <a:t>Label1</a:t>
            </a:r>
          </a:p>
          <a:p>
            <a:pPr marL="886288" lvl="1" indent="-342900">
              <a:buFont typeface="Arial" panose="020B0604020202020204" pitchFamily="34" charset="0"/>
              <a:buChar char="•"/>
            </a:pPr>
            <a:r>
              <a:rPr lang="en-US" sz="1600" dirty="0"/>
              <a:t>Label2</a:t>
            </a:r>
          </a:p>
          <a:p>
            <a:pPr marL="886288" lvl="1" indent="-342900">
              <a:buFont typeface="Arial" panose="020B0604020202020204" pitchFamily="34" charset="0"/>
              <a:buChar char="•"/>
            </a:pPr>
            <a:r>
              <a:rPr lang="en-US" sz="1600" dirty="0"/>
              <a:t>Label3</a:t>
            </a:r>
          </a:p>
          <a:p>
            <a:pPr marL="886288" lvl="1" indent="-342900">
              <a:buFont typeface="Arial" panose="020B0604020202020204" pitchFamily="34" charset="0"/>
              <a:buChar char="•"/>
            </a:pPr>
            <a:r>
              <a:rPr lang="en-US" sz="1600" dirty="0" err="1"/>
              <a:t>StepDetail</a:t>
            </a:r>
            <a:endParaRPr lang="en-US" sz="1600" dirty="0"/>
          </a:p>
          <a:p>
            <a:pPr marL="886288" lvl="1" indent="-342900">
              <a:buFont typeface="Arial" panose="020B0604020202020204" pitchFamily="34" charset="0"/>
              <a:buChar char="•"/>
            </a:pPr>
            <a:r>
              <a:rPr lang="en-US" sz="1600" dirty="0" err="1"/>
              <a:t>AffectedPartsID</a:t>
            </a:r>
            <a:endParaRPr lang="en-US" sz="1600" dirty="0"/>
          </a:p>
          <a:p>
            <a:pPr algn="l">
              <a:lnSpc>
                <a:spcPct val="90000"/>
              </a:lnSpc>
              <a:spcBef>
                <a:spcPts val="800"/>
              </a:spcBef>
            </a:pPr>
            <a:endParaRPr lang="en-US" dirty="0"/>
          </a:p>
          <a:p>
            <a:pPr algn="l">
              <a:lnSpc>
                <a:spcPct val="90000"/>
              </a:lnSpc>
              <a:spcBef>
                <a:spcPts val="800"/>
              </a:spcBef>
            </a:pPr>
            <a:endParaRPr lang="en-US" dirty="0"/>
          </a:p>
        </p:txBody>
      </p:sp>
      <p:sp>
        <p:nvSpPr>
          <p:cNvPr id="4" name="TextBox 3">
            <a:extLst>
              <a:ext uri="{FF2B5EF4-FFF2-40B4-BE49-F238E27FC236}">
                <a16:creationId xmlns:a16="http://schemas.microsoft.com/office/drawing/2014/main" id="{3D0CEC99-876F-A9F5-8086-B598FE1494D0}"/>
              </a:ext>
            </a:extLst>
          </p:cNvPr>
          <p:cNvSpPr txBox="1"/>
          <p:nvPr/>
        </p:nvSpPr>
        <p:spPr>
          <a:xfrm>
            <a:off x="4471524" y="836981"/>
            <a:ext cx="3248951" cy="590931"/>
          </a:xfrm>
          <a:prstGeom prst="rect">
            <a:avLst/>
          </a:prstGeom>
          <a:noFill/>
          <a:ln w="9525">
            <a:noFill/>
          </a:ln>
        </p:spPr>
        <p:txBody>
          <a:bodyPr wrap="square">
            <a:spAutoFit/>
          </a:bodyPr>
          <a:lstStyle/>
          <a:p>
            <a:pPr algn="l">
              <a:lnSpc>
                <a:spcPct val="90000"/>
              </a:lnSpc>
              <a:spcBef>
                <a:spcPts val="800"/>
              </a:spcBef>
            </a:pPr>
            <a:r>
              <a:rPr lang="en-US" sz="3600" dirty="0"/>
              <a:t>Create Data</a:t>
            </a:r>
          </a:p>
        </p:txBody>
      </p:sp>
      <p:sp>
        <p:nvSpPr>
          <p:cNvPr id="6" name="TextBox 5">
            <a:extLst>
              <a:ext uri="{FF2B5EF4-FFF2-40B4-BE49-F238E27FC236}">
                <a16:creationId xmlns:a16="http://schemas.microsoft.com/office/drawing/2014/main" id="{AC1CDAD0-EFE4-BB05-3CA6-035AB64B404F}"/>
              </a:ext>
            </a:extLst>
          </p:cNvPr>
          <p:cNvSpPr txBox="1"/>
          <p:nvPr/>
        </p:nvSpPr>
        <p:spPr>
          <a:xfrm>
            <a:off x="5141896" y="2644170"/>
            <a:ext cx="6096000" cy="1569660"/>
          </a:xfrm>
          <a:prstGeom prst="rect">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0" scaled="1"/>
            <a:tileRect/>
          </a:gradFill>
          <a:ln w="9525">
            <a:noFill/>
          </a:ln>
        </p:spPr>
        <p:txBody>
          <a:bodyPr wrap="square">
            <a:spAutoFit/>
          </a:bodyPr>
          <a:lstStyle/>
          <a:p>
            <a:r>
              <a:rPr lang="en-US" sz="1600" dirty="0" err="1"/>
              <a:t>WorkInstructions</a:t>
            </a:r>
            <a:r>
              <a:rPr lang="en-US" sz="1600" dirty="0"/>
              <a:t> are based on </a:t>
            </a:r>
            <a:r>
              <a:rPr lang="en-US" sz="1600" dirty="0" err="1"/>
              <a:t>WorkID</a:t>
            </a:r>
            <a:r>
              <a:rPr lang="en-US" sz="1600" dirty="0"/>
              <a:t> and </a:t>
            </a:r>
            <a:r>
              <a:rPr lang="en-US" sz="1600" dirty="0" err="1"/>
              <a:t>StepNumber</a:t>
            </a:r>
            <a:endParaRPr lang="en-US" sz="1600" dirty="0"/>
          </a:p>
          <a:p>
            <a:endParaRPr lang="en-US" sz="1600" dirty="0"/>
          </a:p>
          <a:p>
            <a:r>
              <a:rPr lang="en-US" sz="1600" dirty="0"/>
              <a:t>Label1,2,3 are UI labels that can be populated depending on the requirement on the Instruction (can be blank)</a:t>
            </a:r>
          </a:p>
          <a:p>
            <a:endParaRPr lang="en-US" sz="1600" dirty="0"/>
          </a:p>
          <a:p>
            <a:r>
              <a:rPr lang="en-US" sz="1600" dirty="0" err="1"/>
              <a:t>StepDetail</a:t>
            </a:r>
            <a:r>
              <a:rPr lang="en-US" sz="1600" dirty="0"/>
              <a:t> provides the detail </a:t>
            </a:r>
          </a:p>
        </p:txBody>
      </p:sp>
    </p:spTree>
    <p:extLst>
      <p:ext uri="{BB962C8B-B14F-4D97-AF65-F5344CB8AC3E}">
        <p14:creationId xmlns:p14="http://schemas.microsoft.com/office/powerpoint/2010/main" val="3629790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7DDACF-B382-F61E-5D49-543936299D93}"/>
              </a:ext>
            </a:extLst>
          </p:cNvPr>
          <p:cNvSpPr>
            <a:spLocks noGrp="1"/>
          </p:cNvSpPr>
          <p:nvPr>
            <p:ph type="title"/>
          </p:nvPr>
        </p:nvSpPr>
        <p:spPr>
          <a:xfrm>
            <a:off x="1659160" y="235564"/>
            <a:ext cx="4102986" cy="369332"/>
          </a:xfrm>
        </p:spPr>
        <p:txBody>
          <a:bodyPr/>
          <a:lstStyle/>
          <a:p>
            <a:r>
              <a:rPr lang="en-US" dirty="0"/>
              <a:t>IMPLEMENT DETAILS</a:t>
            </a:r>
          </a:p>
        </p:txBody>
      </p:sp>
      <p:pic>
        <p:nvPicPr>
          <p:cNvPr id="3" name="Graphic 2">
            <a:extLst>
              <a:ext uri="{FF2B5EF4-FFF2-40B4-BE49-F238E27FC236}">
                <a16:creationId xmlns:a16="http://schemas.microsoft.com/office/drawing/2014/main" id="{40F5525B-50F2-381C-C9BD-0E48FE30405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836278" y="134704"/>
            <a:ext cx="1867027" cy="388379"/>
          </a:xfrm>
          <a:prstGeom prst="rect">
            <a:avLst/>
          </a:prstGeom>
        </p:spPr>
      </p:pic>
      <p:pic>
        <p:nvPicPr>
          <p:cNvPr id="12" name="Graphic 11">
            <a:extLst>
              <a:ext uri="{FF2B5EF4-FFF2-40B4-BE49-F238E27FC236}">
                <a16:creationId xmlns:a16="http://schemas.microsoft.com/office/drawing/2014/main" id="{C298A79C-4ADB-ED21-305E-A6B307E2925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63491" y="1804023"/>
            <a:ext cx="336676" cy="419940"/>
          </a:xfrm>
          <a:prstGeom prst="rect">
            <a:avLst/>
          </a:prstGeom>
        </p:spPr>
      </p:pic>
      <p:sp>
        <p:nvSpPr>
          <p:cNvPr id="10" name="TextBox 9">
            <a:extLst>
              <a:ext uri="{FF2B5EF4-FFF2-40B4-BE49-F238E27FC236}">
                <a16:creationId xmlns:a16="http://schemas.microsoft.com/office/drawing/2014/main" id="{77BD65B1-AFBF-B674-C98E-5FA4D7A4BEC5}"/>
              </a:ext>
            </a:extLst>
          </p:cNvPr>
          <p:cNvSpPr txBox="1"/>
          <p:nvPr/>
        </p:nvSpPr>
        <p:spPr>
          <a:xfrm>
            <a:off x="868740" y="1484213"/>
            <a:ext cx="6442138" cy="2246769"/>
          </a:xfrm>
          <a:prstGeom prst="rect">
            <a:avLst/>
          </a:prstGeom>
          <a:noFill/>
          <a:ln w="9525">
            <a:noFill/>
          </a:ln>
        </p:spPr>
        <p:txBody>
          <a:bodyPr wrap="square">
            <a:spAutoFit/>
          </a:bodyPr>
          <a:lstStyle/>
          <a:p>
            <a:r>
              <a:rPr lang="en-US" dirty="0"/>
              <a:t>Work Order that binds the VIN and Order ID</a:t>
            </a:r>
          </a:p>
          <a:p>
            <a:r>
              <a:rPr lang="en-US" dirty="0" err="1">
                <a:highlight>
                  <a:srgbClr val="FFFF00"/>
                </a:highlight>
              </a:rPr>
              <a:t>AutoARWorkOrder_DT</a:t>
            </a:r>
            <a:endParaRPr lang="en-US" dirty="0">
              <a:highlight>
                <a:srgbClr val="FFFF00"/>
              </a:highlight>
            </a:endParaRPr>
          </a:p>
          <a:p>
            <a:pPr marL="829138" lvl="1" indent="-285750">
              <a:buFont typeface="Arial" panose="020B0604020202020204" pitchFamily="34" charset="0"/>
              <a:buChar char="•"/>
            </a:pPr>
            <a:r>
              <a:rPr lang="en-US" sz="1600" dirty="0" err="1"/>
              <a:t>WorkID</a:t>
            </a:r>
            <a:endParaRPr lang="en-US" sz="1600" dirty="0"/>
          </a:p>
          <a:p>
            <a:pPr marL="829138" lvl="1" indent="-285750">
              <a:buFont typeface="Arial" panose="020B0604020202020204" pitchFamily="34" charset="0"/>
              <a:buChar char="•"/>
            </a:pPr>
            <a:r>
              <a:rPr lang="en-US" sz="1600" dirty="0"/>
              <a:t>Title</a:t>
            </a:r>
          </a:p>
          <a:p>
            <a:pPr marL="829138" lvl="1" indent="-285750">
              <a:buFont typeface="Arial" panose="020B0604020202020204" pitchFamily="34" charset="0"/>
              <a:buChar char="•"/>
            </a:pPr>
            <a:r>
              <a:rPr lang="en-US" sz="1600" dirty="0"/>
              <a:t>Overview</a:t>
            </a:r>
          </a:p>
          <a:p>
            <a:pPr marL="829138" lvl="1" indent="-285750">
              <a:buFont typeface="Arial" panose="020B0604020202020204" pitchFamily="34" charset="0"/>
              <a:buChar char="•"/>
            </a:pPr>
            <a:r>
              <a:rPr lang="en-US" sz="1600" dirty="0"/>
              <a:t>Difficulty</a:t>
            </a:r>
          </a:p>
          <a:p>
            <a:pPr marL="829138" lvl="1" indent="-285750">
              <a:buFont typeface="Arial" panose="020B0604020202020204" pitchFamily="34" charset="0"/>
              <a:buChar char="•"/>
            </a:pPr>
            <a:r>
              <a:rPr lang="en-US" sz="1600" dirty="0"/>
              <a:t>Time</a:t>
            </a:r>
          </a:p>
          <a:p>
            <a:pPr marL="829138" lvl="1" indent="-285750">
              <a:buFont typeface="Arial" panose="020B0604020202020204" pitchFamily="34" charset="0"/>
              <a:buChar char="•"/>
            </a:pPr>
            <a:r>
              <a:rPr lang="en-US" sz="1600" dirty="0"/>
              <a:t>VIN</a:t>
            </a:r>
          </a:p>
        </p:txBody>
      </p:sp>
      <p:sp>
        <p:nvSpPr>
          <p:cNvPr id="16" name="TextBox 15">
            <a:extLst>
              <a:ext uri="{FF2B5EF4-FFF2-40B4-BE49-F238E27FC236}">
                <a16:creationId xmlns:a16="http://schemas.microsoft.com/office/drawing/2014/main" id="{0C081B0E-8D32-7E26-C564-448360D8B537}"/>
              </a:ext>
            </a:extLst>
          </p:cNvPr>
          <p:cNvSpPr txBox="1"/>
          <p:nvPr/>
        </p:nvSpPr>
        <p:spPr>
          <a:xfrm>
            <a:off x="192371" y="3575448"/>
            <a:ext cx="11654189" cy="3293209"/>
          </a:xfrm>
          <a:prstGeom prst="rect">
            <a:avLst/>
          </a:prstGeom>
          <a:noFill/>
          <a:ln w="9525">
            <a:noFill/>
          </a:ln>
        </p:spPr>
        <p:txBody>
          <a:bodyPr wrap="square">
            <a:spAutoFit/>
          </a:bodyPr>
          <a:lstStyle/>
          <a:p>
            <a:r>
              <a:rPr lang="en-US" sz="1600" dirty="0"/>
              <a:t>Pseudo function</a:t>
            </a:r>
          </a:p>
          <a:p>
            <a:r>
              <a:rPr lang="en-US" sz="1600" dirty="0" err="1"/>
              <a:t>createWorkOrder</a:t>
            </a:r>
            <a:r>
              <a:rPr lang="en-US" sz="1600" dirty="0"/>
              <a:t> </a:t>
            </a:r>
          </a:p>
          <a:p>
            <a:endParaRPr lang="en-US" sz="1600" dirty="0"/>
          </a:p>
          <a:p>
            <a:pPr lvl="1"/>
            <a:r>
              <a:rPr lang="en-US" sz="1600" dirty="0" err="1"/>
              <a:t>WorkID</a:t>
            </a:r>
            <a:r>
              <a:rPr lang="en-US" sz="1600" dirty="0"/>
              <a:t> = 'WIB1028’, </a:t>
            </a:r>
          </a:p>
          <a:p>
            <a:pPr lvl="1"/>
            <a:r>
              <a:rPr lang="en-US" sz="1600" dirty="0"/>
              <a:t>Title ="Rear Window Wiper Motor. As Signal Error" , </a:t>
            </a:r>
          </a:p>
          <a:p>
            <a:pPr lvl="1"/>
            <a:r>
              <a:rPr lang="en-US" sz="1600" dirty="0"/>
              <a:t>Overview  = "Rear Window Wiper Motor (As) Signal Error : If you are troubleshooting multiple DTCs, be sure to follow the instructions in B-CAN System Diagnosis Test Mode A" , </a:t>
            </a:r>
          </a:p>
          <a:p>
            <a:pPr lvl="1"/>
            <a:r>
              <a:rPr lang="en-US" sz="1600" dirty="0"/>
              <a:t>Difficulty = "Medium"    , </a:t>
            </a:r>
          </a:p>
          <a:p>
            <a:pPr lvl="1"/>
            <a:r>
              <a:rPr lang="en-US" sz="1600" dirty="0"/>
              <a:t>Time = 300, </a:t>
            </a:r>
          </a:p>
          <a:p>
            <a:pPr lvl="1"/>
            <a:r>
              <a:rPr lang="en-US" sz="1600" dirty="0"/>
              <a:t>VIN = 123456789; </a:t>
            </a:r>
          </a:p>
          <a:p>
            <a:endParaRPr lang="en-US" sz="1600" dirty="0"/>
          </a:p>
          <a:p>
            <a:endParaRPr lang="en-US" sz="1600" dirty="0"/>
          </a:p>
          <a:p>
            <a:r>
              <a:rPr lang="en-US" sz="1600" dirty="0"/>
              <a:t>//</a:t>
            </a:r>
          </a:p>
        </p:txBody>
      </p:sp>
      <p:sp>
        <p:nvSpPr>
          <p:cNvPr id="4" name="TextBox 3">
            <a:extLst>
              <a:ext uri="{FF2B5EF4-FFF2-40B4-BE49-F238E27FC236}">
                <a16:creationId xmlns:a16="http://schemas.microsoft.com/office/drawing/2014/main" id="{2360148B-ACC1-7312-ACFB-581FEC373F97}"/>
              </a:ext>
            </a:extLst>
          </p:cNvPr>
          <p:cNvSpPr txBox="1"/>
          <p:nvPr/>
        </p:nvSpPr>
        <p:spPr>
          <a:xfrm>
            <a:off x="4199337" y="701486"/>
            <a:ext cx="3248951" cy="590931"/>
          </a:xfrm>
          <a:prstGeom prst="rect">
            <a:avLst/>
          </a:prstGeom>
          <a:noFill/>
          <a:ln w="9525">
            <a:noFill/>
          </a:ln>
        </p:spPr>
        <p:txBody>
          <a:bodyPr wrap="square">
            <a:spAutoFit/>
          </a:bodyPr>
          <a:lstStyle/>
          <a:p>
            <a:pPr algn="l">
              <a:lnSpc>
                <a:spcPct val="90000"/>
              </a:lnSpc>
              <a:spcBef>
                <a:spcPts val="800"/>
              </a:spcBef>
            </a:pPr>
            <a:r>
              <a:rPr lang="en-US" sz="3600" dirty="0"/>
              <a:t>Create Data</a:t>
            </a:r>
          </a:p>
        </p:txBody>
      </p:sp>
      <p:sp>
        <p:nvSpPr>
          <p:cNvPr id="5" name="TextBox 4">
            <a:extLst>
              <a:ext uri="{FF2B5EF4-FFF2-40B4-BE49-F238E27FC236}">
                <a16:creationId xmlns:a16="http://schemas.microsoft.com/office/drawing/2014/main" id="{CDF6C1C6-1CB6-AF22-02C1-0C6322FC0FCB}"/>
              </a:ext>
            </a:extLst>
          </p:cNvPr>
          <p:cNvSpPr txBox="1"/>
          <p:nvPr/>
        </p:nvSpPr>
        <p:spPr>
          <a:xfrm>
            <a:off x="5067755" y="2644170"/>
            <a:ext cx="6096000" cy="584775"/>
          </a:xfrm>
          <a:prstGeom prst="rect">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0" scaled="1"/>
            <a:tileRect/>
          </a:gradFill>
          <a:ln w="9525">
            <a:noFill/>
          </a:ln>
        </p:spPr>
        <p:txBody>
          <a:bodyPr wrap="square">
            <a:spAutoFit/>
          </a:bodyPr>
          <a:lstStyle/>
          <a:p>
            <a:r>
              <a:rPr lang="en-US" sz="1600" dirty="0"/>
              <a:t>The Vin defines the vehicle and </a:t>
            </a:r>
            <a:r>
              <a:rPr lang="en-US" sz="1600" dirty="0" err="1"/>
              <a:t>WorkID’s</a:t>
            </a:r>
            <a:r>
              <a:rPr lang="en-US" sz="1600" dirty="0"/>
              <a:t> the actions to be taken </a:t>
            </a:r>
          </a:p>
        </p:txBody>
      </p:sp>
    </p:spTree>
    <p:extLst>
      <p:ext uri="{BB962C8B-B14F-4D97-AF65-F5344CB8AC3E}">
        <p14:creationId xmlns:p14="http://schemas.microsoft.com/office/powerpoint/2010/main" val="2089622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7DDACF-B382-F61E-5D49-543936299D93}"/>
              </a:ext>
            </a:extLst>
          </p:cNvPr>
          <p:cNvSpPr>
            <a:spLocks noGrp="1"/>
          </p:cNvSpPr>
          <p:nvPr>
            <p:ph type="title"/>
          </p:nvPr>
        </p:nvSpPr>
        <p:spPr>
          <a:xfrm>
            <a:off x="1659160" y="235564"/>
            <a:ext cx="4102986" cy="369332"/>
          </a:xfrm>
        </p:spPr>
        <p:txBody>
          <a:bodyPr/>
          <a:lstStyle/>
          <a:p>
            <a:r>
              <a:rPr lang="en-US" dirty="0"/>
              <a:t>IMPLEMENT DETAILS</a:t>
            </a:r>
          </a:p>
        </p:txBody>
      </p:sp>
      <p:pic>
        <p:nvPicPr>
          <p:cNvPr id="3" name="Graphic 2">
            <a:extLst>
              <a:ext uri="{FF2B5EF4-FFF2-40B4-BE49-F238E27FC236}">
                <a16:creationId xmlns:a16="http://schemas.microsoft.com/office/drawing/2014/main" id="{40F5525B-50F2-381C-C9BD-0E48FE30405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836278" y="134704"/>
            <a:ext cx="1867027" cy="388379"/>
          </a:xfrm>
          <a:prstGeom prst="rect">
            <a:avLst/>
          </a:prstGeom>
        </p:spPr>
      </p:pic>
      <p:pic>
        <p:nvPicPr>
          <p:cNvPr id="12" name="Graphic 11">
            <a:extLst>
              <a:ext uri="{FF2B5EF4-FFF2-40B4-BE49-F238E27FC236}">
                <a16:creationId xmlns:a16="http://schemas.microsoft.com/office/drawing/2014/main" id="{C298A79C-4ADB-ED21-305E-A6B307E2925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25178" y="1076864"/>
            <a:ext cx="336676" cy="419940"/>
          </a:xfrm>
          <a:prstGeom prst="rect">
            <a:avLst/>
          </a:prstGeom>
        </p:spPr>
      </p:pic>
      <p:sp>
        <p:nvSpPr>
          <p:cNvPr id="4" name="TextBox 3">
            <a:extLst>
              <a:ext uri="{FF2B5EF4-FFF2-40B4-BE49-F238E27FC236}">
                <a16:creationId xmlns:a16="http://schemas.microsoft.com/office/drawing/2014/main" id="{C4B3C659-2308-2DBE-7CE5-2CB7CD6D29AD}"/>
              </a:ext>
            </a:extLst>
          </p:cNvPr>
          <p:cNvSpPr txBox="1"/>
          <p:nvPr/>
        </p:nvSpPr>
        <p:spPr>
          <a:xfrm>
            <a:off x="898170" y="695710"/>
            <a:ext cx="7097750" cy="2492990"/>
          </a:xfrm>
          <a:prstGeom prst="rect">
            <a:avLst/>
          </a:prstGeom>
          <a:noFill/>
          <a:ln w="9525">
            <a:noFill/>
          </a:ln>
        </p:spPr>
        <p:txBody>
          <a:bodyPr wrap="square">
            <a:spAutoFit/>
          </a:bodyPr>
          <a:lstStyle/>
          <a:p>
            <a:r>
              <a:rPr lang="en-US" dirty="0"/>
              <a:t>Related Models in Step</a:t>
            </a:r>
          </a:p>
          <a:p>
            <a:r>
              <a:rPr lang="en-US" dirty="0" err="1">
                <a:highlight>
                  <a:srgbClr val="FFFF00"/>
                </a:highlight>
              </a:rPr>
              <a:t>AutoARAffectedParts_DT</a:t>
            </a:r>
            <a:endParaRPr lang="en-US" dirty="0">
              <a:highlight>
                <a:srgbClr val="FFFF00"/>
              </a:highlight>
            </a:endParaRPr>
          </a:p>
          <a:p>
            <a:pPr marL="829138" lvl="1" indent="-285750">
              <a:buFont typeface="Arial" panose="020B0604020202020204" pitchFamily="34" charset="0"/>
              <a:buChar char="•"/>
            </a:pPr>
            <a:r>
              <a:rPr lang="en-US" sz="1600" dirty="0" err="1"/>
              <a:t>AffectedPartID</a:t>
            </a:r>
            <a:r>
              <a:rPr lang="en-US" sz="1600" dirty="0"/>
              <a:t> (key)</a:t>
            </a:r>
          </a:p>
          <a:p>
            <a:pPr marL="829138" lvl="1" indent="-285750">
              <a:buFont typeface="Arial" panose="020B0604020202020204" pitchFamily="34" charset="0"/>
              <a:buChar char="•"/>
            </a:pPr>
            <a:r>
              <a:rPr lang="en-US" sz="1600" dirty="0" err="1"/>
              <a:t>MetadataID</a:t>
            </a:r>
            <a:r>
              <a:rPr lang="en-US" sz="1600" dirty="0"/>
              <a:t> (key) </a:t>
            </a:r>
          </a:p>
          <a:p>
            <a:pPr marL="829138" lvl="1" indent="-285750">
              <a:buFont typeface="Arial" panose="020B0604020202020204" pitchFamily="34" charset="0"/>
              <a:buChar char="•"/>
            </a:pPr>
            <a:r>
              <a:rPr lang="en-US" sz="1600" dirty="0" err="1"/>
              <a:t>MetadataPropertyName</a:t>
            </a:r>
            <a:r>
              <a:rPr lang="en-US" sz="1600" dirty="0"/>
              <a:t> </a:t>
            </a:r>
          </a:p>
          <a:p>
            <a:pPr marL="829138" lvl="1" indent="-285750">
              <a:buFont typeface="Arial" panose="020B0604020202020204" pitchFamily="34" charset="0"/>
              <a:buChar char="•"/>
            </a:pPr>
            <a:r>
              <a:rPr lang="en-US" sz="1600" dirty="0" err="1"/>
              <a:t>ModelName</a:t>
            </a:r>
            <a:endParaRPr lang="en-US" sz="1600" dirty="0"/>
          </a:p>
          <a:p>
            <a:pPr marL="829138" lvl="1" indent="-285750">
              <a:buFont typeface="Arial" panose="020B0604020202020204" pitchFamily="34" charset="0"/>
              <a:buChar char="•"/>
            </a:pPr>
            <a:r>
              <a:rPr lang="en-US" sz="1600" dirty="0"/>
              <a:t>DisplayName // </a:t>
            </a:r>
            <a:r>
              <a:rPr lang="en-US" sz="1200" dirty="0"/>
              <a:t>redundant maybe this can from the metadata </a:t>
            </a:r>
            <a:endParaRPr lang="en-US" sz="1600" dirty="0"/>
          </a:p>
          <a:p>
            <a:pPr marL="829138" lvl="1" indent="-285750">
              <a:buFont typeface="Arial" panose="020B0604020202020204" pitchFamily="34" charset="0"/>
              <a:buChar char="•"/>
            </a:pPr>
            <a:r>
              <a:rPr lang="en-US" sz="1600" dirty="0" err="1"/>
              <a:t>PartName</a:t>
            </a:r>
            <a:r>
              <a:rPr lang="en-US" sz="1600" dirty="0"/>
              <a:t>  // </a:t>
            </a:r>
            <a:r>
              <a:rPr lang="en-US" sz="1200" dirty="0"/>
              <a:t>redundant maybe this can from the metadata </a:t>
            </a:r>
            <a:endParaRPr lang="en-US" sz="1600" dirty="0"/>
          </a:p>
          <a:p>
            <a:pPr marL="829138" lvl="1" indent="-285750">
              <a:buFont typeface="Arial" panose="020B0604020202020204" pitchFamily="34" charset="0"/>
              <a:buChar char="•"/>
            </a:pPr>
            <a:r>
              <a:rPr lang="en-US" sz="1600" dirty="0" err="1"/>
              <a:t>FileName</a:t>
            </a:r>
            <a:endParaRPr lang="en-US" sz="1600" dirty="0"/>
          </a:p>
        </p:txBody>
      </p:sp>
      <p:sp>
        <p:nvSpPr>
          <p:cNvPr id="6" name="TextBox 5">
            <a:extLst>
              <a:ext uri="{FF2B5EF4-FFF2-40B4-BE49-F238E27FC236}">
                <a16:creationId xmlns:a16="http://schemas.microsoft.com/office/drawing/2014/main" id="{EEADF2B8-AE51-8F6A-F0B7-E874D2113ED0}"/>
              </a:ext>
            </a:extLst>
          </p:cNvPr>
          <p:cNvSpPr txBox="1"/>
          <p:nvPr/>
        </p:nvSpPr>
        <p:spPr>
          <a:xfrm>
            <a:off x="474310" y="3826870"/>
            <a:ext cx="11826909" cy="2462213"/>
          </a:xfrm>
          <a:prstGeom prst="rect">
            <a:avLst/>
          </a:prstGeom>
          <a:noFill/>
          <a:ln w="9525">
            <a:noFill/>
          </a:ln>
        </p:spPr>
        <p:txBody>
          <a:bodyPr wrap="square">
            <a:spAutoFit/>
          </a:bodyPr>
          <a:lstStyle/>
          <a:p>
            <a:r>
              <a:rPr lang="en-US" sz="1400" b="1" dirty="0" err="1"/>
              <a:t>createAffectedPart</a:t>
            </a:r>
            <a:r>
              <a:rPr lang="en-US" sz="1400" dirty="0"/>
              <a:t>(apDTC_B1028_1,  "/134", "path", "</a:t>
            </a:r>
            <a:r>
              <a:rPr lang="en-US" sz="1400" dirty="0" err="1"/>
              <a:t>ap_rear_wiper_motor</a:t>
            </a:r>
            <a:r>
              <a:rPr lang="en-US" sz="1400" dirty="0"/>
              <a:t>" , "REAR_WIPER_MOTOR.PRT" , "REAR_WIPER_MOTOR.PRT" , "/</a:t>
            </a:r>
            <a:r>
              <a:rPr lang="en-US" sz="1400" dirty="0" err="1"/>
              <a:t>Crv</a:t>
            </a:r>
            <a:r>
              <a:rPr lang="en-US" sz="1400" dirty="0"/>
              <a:t>/</a:t>
            </a:r>
            <a:r>
              <a:rPr lang="en-US" sz="1400" dirty="0" err="1"/>
              <a:t>AffectedPart</a:t>
            </a:r>
            <a:r>
              <a:rPr lang="en-US" sz="1400" dirty="0"/>
              <a:t>/</a:t>
            </a:r>
            <a:r>
              <a:rPr lang="en-US" sz="1400" dirty="0" err="1"/>
              <a:t>rear_wiper_motor.pvz</a:t>
            </a:r>
            <a:r>
              <a:rPr lang="en-US" sz="1400" dirty="0"/>
              <a:t>" ); </a:t>
            </a:r>
          </a:p>
          <a:p>
            <a:endParaRPr lang="en-US" sz="1400" dirty="0"/>
          </a:p>
          <a:p>
            <a:r>
              <a:rPr lang="en-US" sz="1400" b="1" dirty="0" err="1"/>
              <a:t>createAffectedPart</a:t>
            </a:r>
            <a:r>
              <a:rPr lang="en-US" sz="1400" dirty="0"/>
              <a:t>(apDTC_B1028_1,  "/68/85/@@PV-AUTO-ID@@010", "path", "</a:t>
            </a:r>
            <a:r>
              <a:rPr lang="en-US" sz="1400" dirty="0" err="1"/>
              <a:t>tailgate_wireharness</a:t>
            </a:r>
            <a:r>
              <a:rPr lang="en-US" sz="1400" dirty="0"/>
              <a:t>" , "BUNDLE_1" , "BUNDLE_1" , "/</a:t>
            </a:r>
            <a:r>
              <a:rPr lang="en-US" sz="1400" dirty="0" err="1"/>
              <a:t>Crv</a:t>
            </a:r>
            <a:r>
              <a:rPr lang="en-US" sz="1400" dirty="0"/>
              <a:t>/</a:t>
            </a:r>
            <a:r>
              <a:rPr lang="en-US" sz="1400" dirty="0" err="1"/>
              <a:t>AffectedPart</a:t>
            </a:r>
            <a:r>
              <a:rPr lang="en-US" sz="1400" dirty="0"/>
              <a:t>/</a:t>
            </a:r>
            <a:r>
              <a:rPr lang="en-US" sz="1400" dirty="0" err="1"/>
              <a:t>tailgate_wireharness.pvz</a:t>
            </a:r>
            <a:r>
              <a:rPr lang="en-US" sz="1400" dirty="0"/>
              <a:t>" ); </a:t>
            </a:r>
          </a:p>
          <a:p>
            <a:endParaRPr lang="en-US" sz="1400" dirty="0"/>
          </a:p>
          <a:p>
            <a:r>
              <a:rPr lang="en-US" sz="1400" b="1" dirty="0" err="1"/>
              <a:t>createAffectedPart</a:t>
            </a:r>
            <a:r>
              <a:rPr lang="en-US" sz="1400" dirty="0"/>
              <a:t>(apDTC_B1028_1,  ":5/134", "path", "</a:t>
            </a:r>
            <a:r>
              <a:rPr lang="en-US" sz="1400" dirty="0" err="1"/>
              <a:t>ap_underDashFuseRelayBox</a:t>
            </a:r>
            <a:r>
              <a:rPr lang="en-US" sz="1400" dirty="0"/>
              <a:t>" , "UNDERDASHFUSERELAYBOX.PRT" , "UNDERDASHFUSERELAYBOX.PRT" , "/</a:t>
            </a:r>
            <a:r>
              <a:rPr lang="en-US" sz="1400" dirty="0" err="1"/>
              <a:t>Crv</a:t>
            </a:r>
            <a:r>
              <a:rPr lang="en-US" sz="1400" dirty="0"/>
              <a:t>/</a:t>
            </a:r>
            <a:r>
              <a:rPr lang="en-US" sz="1400" dirty="0" err="1"/>
              <a:t>AffectedPart</a:t>
            </a:r>
            <a:r>
              <a:rPr lang="en-US" sz="1400" dirty="0"/>
              <a:t>/</a:t>
            </a:r>
            <a:r>
              <a:rPr lang="en-US" sz="1400" dirty="0" err="1"/>
              <a:t>underDashFuseRelayBox.pvz</a:t>
            </a:r>
            <a:r>
              <a:rPr lang="en-US" sz="1400" dirty="0"/>
              <a:t>" );  </a:t>
            </a:r>
          </a:p>
          <a:p>
            <a:endParaRPr lang="en-US" sz="1400" dirty="0"/>
          </a:p>
          <a:p>
            <a:r>
              <a:rPr lang="en-US" sz="1400" b="1" dirty="0" err="1"/>
              <a:t>createAffectedPart</a:t>
            </a:r>
            <a:r>
              <a:rPr lang="en-US" sz="1400" dirty="0"/>
              <a:t>(apDTC_B1028_1,  "/138", "path", "</a:t>
            </a:r>
            <a:r>
              <a:rPr lang="en-US" sz="1400" dirty="0" err="1"/>
              <a:t>ap_gauge_control_unit</a:t>
            </a:r>
            <a:r>
              <a:rPr lang="en-US" sz="1400" dirty="0"/>
              <a:t>" , "GAUGE_CONTROL_UNIT.PRT" , "GAUGE_CONTROL_UNIT.PRT" , "/</a:t>
            </a:r>
            <a:r>
              <a:rPr lang="en-US" sz="1400" dirty="0" err="1"/>
              <a:t>Crv</a:t>
            </a:r>
            <a:r>
              <a:rPr lang="en-US" sz="1400" dirty="0"/>
              <a:t>/</a:t>
            </a:r>
            <a:r>
              <a:rPr lang="en-US" sz="1400" dirty="0" err="1"/>
              <a:t>AffectedPart</a:t>
            </a:r>
            <a:r>
              <a:rPr lang="en-US" sz="1400" dirty="0"/>
              <a:t>/</a:t>
            </a:r>
            <a:r>
              <a:rPr lang="en-US" sz="1400" dirty="0" err="1"/>
              <a:t>gauge_control_unit.pvz</a:t>
            </a:r>
            <a:r>
              <a:rPr lang="en-US" sz="1400" dirty="0"/>
              <a:t>" );</a:t>
            </a:r>
          </a:p>
        </p:txBody>
      </p:sp>
      <p:sp>
        <p:nvSpPr>
          <p:cNvPr id="5" name="TextBox 4">
            <a:extLst>
              <a:ext uri="{FF2B5EF4-FFF2-40B4-BE49-F238E27FC236}">
                <a16:creationId xmlns:a16="http://schemas.microsoft.com/office/drawing/2014/main" id="{946716AF-32B2-38A0-D4CA-DB13D3495933}"/>
              </a:ext>
            </a:extLst>
          </p:cNvPr>
          <p:cNvSpPr txBox="1"/>
          <p:nvPr/>
        </p:nvSpPr>
        <p:spPr>
          <a:xfrm>
            <a:off x="4983285" y="675107"/>
            <a:ext cx="3248951" cy="590931"/>
          </a:xfrm>
          <a:prstGeom prst="rect">
            <a:avLst/>
          </a:prstGeom>
          <a:noFill/>
          <a:ln w="9525">
            <a:noFill/>
          </a:ln>
        </p:spPr>
        <p:txBody>
          <a:bodyPr wrap="square">
            <a:spAutoFit/>
          </a:bodyPr>
          <a:lstStyle/>
          <a:p>
            <a:pPr algn="l">
              <a:lnSpc>
                <a:spcPct val="90000"/>
              </a:lnSpc>
              <a:spcBef>
                <a:spcPts val="800"/>
              </a:spcBef>
            </a:pPr>
            <a:r>
              <a:rPr lang="en-US" sz="3600" dirty="0"/>
              <a:t>Create Data</a:t>
            </a:r>
          </a:p>
        </p:txBody>
      </p:sp>
      <p:sp>
        <p:nvSpPr>
          <p:cNvPr id="8" name="TextBox 7">
            <a:extLst>
              <a:ext uri="{FF2B5EF4-FFF2-40B4-BE49-F238E27FC236}">
                <a16:creationId xmlns:a16="http://schemas.microsoft.com/office/drawing/2014/main" id="{25874430-DB3D-3056-0994-3182F9E52736}"/>
              </a:ext>
            </a:extLst>
          </p:cNvPr>
          <p:cNvSpPr txBox="1"/>
          <p:nvPr/>
        </p:nvSpPr>
        <p:spPr>
          <a:xfrm>
            <a:off x="263491" y="3307730"/>
            <a:ext cx="6095010" cy="400110"/>
          </a:xfrm>
          <a:prstGeom prst="rect">
            <a:avLst/>
          </a:prstGeom>
          <a:noFill/>
          <a:ln w="9525">
            <a:noFill/>
          </a:ln>
        </p:spPr>
        <p:txBody>
          <a:bodyPr wrap="square">
            <a:spAutoFit/>
          </a:bodyPr>
          <a:lstStyle/>
          <a:p>
            <a:r>
              <a:rPr lang="en-US" sz="2000" dirty="0"/>
              <a:t>Pseudo function</a:t>
            </a:r>
          </a:p>
        </p:txBody>
      </p:sp>
    </p:spTree>
    <p:extLst>
      <p:ext uri="{BB962C8B-B14F-4D97-AF65-F5344CB8AC3E}">
        <p14:creationId xmlns:p14="http://schemas.microsoft.com/office/powerpoint/2010/main" val="3785424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Ev32lStPzbKjeVqUbCWny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5XfE9v86RQrOvrodLv8C5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LIV2maKZdWQUudon1RGby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LIV2maKZdWQUudon1RGbyQ"/>
</p:tagLst>
</file>

<file path=ppt/theme/theme1.xml><?xml version="1.0" encoding="utf-8"?>
<a:theme xmlns:a="http://schemas.openxmlformats.org/drawingml/2006/main" name="PTC PowerPoint Template">
  <a:themeElements>
    <a:clrScheme name="Feb 2">
      <a:dk1>
        <a:srgbClr val="3D4647"/>
      </a:dk1>
      <a:lt1>
        <a:srgbClr val="FFFFFF"/>
      </a:lt1>
      <a:dk2>
        <a:srgbClr val="C8C9C7"/>
      </a:dk2>
      <a:lt2>
        <a:srgbClr val="6CC04A"/>
      </a:lt2>
      <a:accent1>
        <a:srgbClr val="40AA1D"/>
      </a:accent1>
      <a:accent2>
        <a:srgbClr val="617480"/>
      </a:accent2>
      <a:accent3>
        <a:srgbClr val="26481F"/>
      </a:accent3>
      <a:accent4>
        <a:srgbClr val="197BC0"/>
      </a:accent4>
      <a:accent5>
        <a:srgbClr val="EB6D00"/>
      </a:accent5>
      <a:accent6>
        <a:srgbClr val="1D496E"/>
      </a:accent6>
      <a:hlink>
        <a:srgbClr val="197BC0"/>
      </a:hlink>
      <a:folHlink>
        <a:srgbClr val="197BC0"/>
      </a:folHlink>
    </a:clrScheme>
    <a:fontScheme name="PTC Newsletter">
      <a:majorFont>
        <a:latin typeface="PTCRaleway"/>
        <a:ea typeface=""/>
        <a:cs typeface=""/>
      </a:majorFont>
      <a:minorFont>
        <a:latin typeface="PTCRaleway"/>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w="9525">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l">
          <a:lnSpc>
            <a:spcPct val="90000"/>
          </a:lnSpc>
          <a:spcBef>
            <a:spcPts val="800"/>
          </a:spcBef>
          <a:defRPr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ln w="9525">
          <a:noFill/>
        </a:ln>
      </a:spPr>
      <a:bodyPr vert="horz" wrap="square" lIns="45720" tIns="45720" rIns="45720" bIns="45720" rtlCol="0">
        <a:noAutofit/>
      </a:bodyPr>
      <a:lstStyle>
        <a:defPPr algn="l">
          <a:lnSpc>
            <a:spcPct val="90000"/>
          </a:lnSpc>
          <a:spcBef>
            <a:spcPts val="800"/>
          </a:spcBef>
          <a:defRPr dirty="0" err="1" smtClean="0"/>
        </a:defPPr>
      </a:lstStyle>
    </a:txDef>
  </a:objectDefaults>
  <a:extraClrSchemeLst/>
  <a:extLst>
    <a:ext uri="{05A4C25C-085E-4340-85A3-A5531E510DB2}">
      <thm15:themeFamily xmlns:thm15="http://schemas.microsoft.com/office/thememl/2012/main" name="PTC Corporate Template FY22.pptx" id="{55F28AAE-38A4-438E-BB84-F26F07CA02A5}" vid="{295AAE85-3475-4C98-8BA3-B232A8C432A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9251</TotalTime>
  <Words>1379</Words>
  <Application>Microsoft Office PowerPoint</Application>
  <PresentationFormat>Widescreen</PresentationFormat>
  <Paragraphs>235</Paragraphs>
  <Slides>15</Slides>
  <Notes>1</Notes>
  <HiddenSlides>0</HiddenSlides>
  <MMClips>1</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2</vt:i4>
      </vt:variant>
      <vt:variant>
        <vt:lpstr>Slide Titles</vt:lpstr>
      </vt:variant>
      <vt:variant>
        <vt:i4>15</vt:i4>
      </vt:variant>
    </vt:vector>
  </HeadingPairs>
  <TitlesOfParts>
    <vt:vector size="23" baseType="lpstr">
      <vt:lpstr>Arial</vt:lpstr>
      <vt:lpstr>Consolas</vt:lpstr>
      <vt:lpstr>PTCRaleway</vt:lpstr>
      <vt:lpstr>PTCRaleway Black</vt:lpstr>
      <vt:lpstr>Calibri</vt:lpstr>
      <vt:lpstr>PTC PowerPoint Template</vt:lpstr>
      <vt:lpstr>think-cell Slide</vt:lpstr>
      <vt:lpstr>Document</vt:lpstr>
      <vt:lpstr>Component locator</vt:lpstr>
      <vt:lpstr>Component locator summary </vt:lpstr>
      <vt:lpstr>Component locator</vt:lpstr>
      <vt:lpstr>implementation SUMMARY</vt:lpstr>
      <vt:lpstr>IMPLEMENT DETAILS</vt:lpstr>
      <vt:lpstr>IMPLEMENT DETAILS</vt:lpstr>
      <vt:lpstr>IMPLEMENT DETAILS</vt:lpstr>
      <vt:lpstr>IMPLEMENT DETAILS</vt:lpstr>
      <vt:lpstr>IMPLEMENT DETAILS</vt:lpstr>
      <vt:lpstr>Work PACKAGE as JSON (this could easily be SXSL, currently we don’t have a sxsl generator as the definition is complex and beyond the scope of this POC)</vt:lpstr>
      <vt:lpstr>IMPLEMENT DETAILS</vt:lpstr>
      <vt:lpstr>IMPLEMENT DETAILS</vt:lpstr>
      <vt:lpstr>Demonstration on device</vt:lpstr>
      <vt:lpstr>Install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rey-Wilson, Steve</dc:creator>
  <cp:lastModifiedBy>Grey-Wilson, Steve</cp:lastModifiedBy>
  <cp:revision>2</cp:revision>
  <dcterms:created xsi:type="dcterms:W3CDTF">2023-12-21T20:40:32Z</dcterms:created>
  <dcterms:modified xsi:type="dcterms:W3CDTF">2024-01-11T16:08:48Z</dcterms:modified>
</cp:coreProperties>
</file>